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8" r:id="rId4"/>
    <p:sldMasterId id="2147483763" r:id="rId5"/>
    <p:sldMasterId id="2147483778" r:id="rId6"/>
    <p:sldMasterId id="2147483785" r:id="rId7"/>
    <p:sldMasterId id="2147483792" r:id="rId8"/>
    <p:sldMasterId id="2147483817" r:id="rId9"/>
    <p:sldMasterId id="2147483850" r:id="rId10"/>
    <p:sldMasterId id="2147483962" r:id="rId11"/>
  </p:sldMasterIdLst>
  <p:notesMasterIdLst>
    <p:notesMasterId r:id="rId13"/>
  </p:notesMasterIdLst>
  <p:handoutMasterIdLst>
    <p:handoutMasterId r:id="rId14"/>
  </p:handoutMasterIdLst>
  <p:sldIdLst>
    <p:sldId id="364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5610">
          <p15:clr>
            <a:srgbClr val="A4A3A4"/>
          </p15:clr>
        </p15:guide>
        <p15:guide id="3" pos="4322">
          <p15:clr>
            <a:srgbClr val="A4A3A4"/>
          </p15:clr>
        </p15:guide>
        <p15:guide id="4" pos="149">
          <p15:clr>
            <a:srgbClr val="A4A3A4"/>
          </p15:clr>
        </p15:guide>
        <p15:guide id="5" pos="2880">
          <p15:clr>
            <a:srgbClr val="A4A3A4"/>
          </p15:clr>
        </p15:guide>
        <p15:guide id="6" pos="14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0086"/>
    <a:srgbClr val="EBEFF2"/>
    <a:srgbClr val="EDE2F6"/>
    <a:srgbClr val="E5D1FF"/>
    <a:srgbClr val="FFFFFF"/>
    <a:srgbClr val="430099"/>
    <a:srgbClr val="422683"/>
    <a:srgbClr val="4300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5672" autoAdjust="0"/>
  </p:normalViewPr>
  <p:slideViewPr>
    <p:cSldViewPr snapToGrid="0" snapToObjects="1">
      <p:cViewPr>
        <p:scale>
          <a:sx n="90" d="100"/>
          <a:sy n="90" d="100"/>
        </p:scale>
        <p:origin x="-906" y="-234"/>
      </p:cViewPr>
      <p:guideLst>
        <p:guide orient="horz" pos="1620"/>
        <p:guide pos="5610"/>
        <p:guide pos="4322"/>
        <p:guide pos="149"/>
        <p:guide pos="2880"/>
        <p:guide pos="14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44D5B8-3D09-0042-B358-7791453182F8}" type="datetimeFigureOut">
              <a:rPr lang="en-US" smtClean="0">
                <a:latin typeface="Arial"/>
              </a:rPr>
              <a:pPr/>
              <a:t>23-Sep-24</a:t>
            </a:fld>
            <a:endParaRPr lang="fr-FR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907809-260F-DD48-892D-C3FF7DFCE9CE}" type="slidenum">
              <a:rPr lang="fr-FR" smtClean="0">
                <a:latin typeface="Arial"/>
              </a:rPr>
              <a:pPr/>
              <a:t>‹#›</a:t>
            </a:fld>
            <a:endParaRPr lang="fr-FR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741365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26C1CE08-9FC0-5742-83AD-BB1616D3A0C6}" type="datetimeFigureOut">
              <a:rPr lang="en-US" smtClean="0"/>
              <a:pPr/>
              <a:t>23-Sep-24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E8EF32BF-3003-B344-A9E1-FF24ECFCCD0F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12751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EF32BF-3003-B344-A9E1-FF24ECFCCD0F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990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/>
          <p:cNvSpPr>
            <a:spLocks noGrp="1"/>
          </p:cNvSpPr>
          <p:nvPr>
            <p:ph idx="28" hasCustomPrompt="1"/>
          </p:nvPr>
        </p:nvSpPr>
        <p:spPr>
          <a:xfrm>
            <a:off x="3256265" y="986967"/>
            <a:ext cx="5649621" cy="3737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400" kern="12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100" kern="1200" noProof="1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baseline="0" noProof="1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900" kern="1200" noProof="1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36176" y="3767974"/>
            <a:ext cx="2165417" cy="95801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marL="0" indent="0" algn="r">
              <a:buNone/>
              <a:defRPr sz="1200" i="1" baseline="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13" indent="-84138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75" indent="-93663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50" indent="-92075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smtClean="0"/>
              <a:t>Caption.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bandeau pied de page O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6" y="797845"/>
            <a:ext cx="463265" cy="3791459"/>
          </a:xfrm>
          <a:prstGeom prst="rect">
            <a:avLst/>
          </a:prstGeom>
        </p:spPr>
      </p:pic>
      <p:sp>
        <p:nvSpPr>
          <p:cNvPr id="1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10C5DA4A-D24E-9542-A0E8-3A375EC50F26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1581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 userDrawn="1"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38" name="Text Placeholder 2"/>
          <p:cNvSpPr>
            <a:spLocks noGrp="1"/>
          </p:cNvSpPr>
          <p:nvPr>
            <p:ph idx="1" hasCustomPrompt="1"/>
          </p:nvPr>
        </p:nvSpPr>
        <p:spPr>
          <a:xfrm>
            <a:off x="842464" y="1571343"/>
            <a:ext cx="3912774" cy="315386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26" name="Text Placeholder 2"/>
          <p:cNvSpPr>
            <a:spLocks noGrp="1"/>
          </p:cNvSpPr>
          <p:nvPr>
            <p:ph idx="29" hasCustomPrompt="1"/>
          </p:nvPr>
        </p:nvSpPr>
        <p:spPr>
          <a:xfrm>
            <a:off x="4993112" y="1571343"/>
            <a:ext cx="3912774" cy="315386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42463" y="985144"/>
            <a:ext cx="3912775" cy="49664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400" b="1" baseline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Main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4993111" y="985144"/>
            <a:ext cx="3912775" cy="49664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400" b="1" baseline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Main </a:t>
            </a:r>
            <a:r>
              <a:rPr lang="fr-FR" dirty="0" err="1" smtClean="0"/>
              <a:t>title</a:t>
            </a:r>
            <a:endParaRPr lang="fr-FR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30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75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42464" y="985143"/>
            <a:ext cx="3559777" cy="127879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4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Page </a:t>
            </a:r>
            <a:r>
              <a:rPr lang="fr-FR" dirty="0" err="1" smtClean="0"/>
              <a:t>title</a:t>
            </a:r>
            <a:r>
              <a:rPr lang="fr-FR" dirty="0" smtClean="0"/>
              <a:t> on </a:t>
            </a:r>
            <a:r>
              <a:rPr lang="fr-FR" dirty="0" err="1" smtClean="0"/>
              <a:t>two</a:t>
            </a:r>
            <a:r>
              <a:rPr lang="fr-FR" dirty="0" smtClean="0"/>
              <a:t> or </a:t>
            </a:r>
            <a:r>
              <a:rPr lang="fr-FR" dirty="0" err="1" smtClean="0"/>
              <a:t>three</a:t>
            </a:r>
            <a:r>
              <a:rPr lang="fr-FR" dirty="0" smtClean="0"/>
              <a:t> </a:t>
            </a:r>
            <a:r>
              <a:rPr lang="fr-FR" dirty="0" err="1" smtClean="0"/>
              <a:t>lines</a:t>
            </a:r>
            <a:r>
              <a:rPr lang="fr-FR" dirty="0" smtClean="0"/>
              <a:t> maximum</a:t>
            </a:r>
            <a:endParaRPr lang="fr-FR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936177" y="2573338"/>
            <a:ext cx="3462265" cy="2152650"/>
          </a:xfrm>
          <a:prstGeom prst="rect">
            <a:avLst/>
          </a:prstGeom>
          <a:solidFill>
            <a:srgbClr val="D9D9D9"/>
          </a:solidFill>
        </p:spPr>
        <p:txBody>
          <a:bodyPr vert="horz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886236" y="3767974"/>
            <a:ext cx="3078135" cy="95801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09" indent="-84136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68" indent="-93661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41" indent="-92073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err="1" smtClean="0"/>
              <a:t>Highlighted</a:t>
            </a:r>
            <a:r>
              <a:rPr lang="fr-FR" dirty="0" smtClean="0"/>
              <a:t> content.</a:t>
            </a:r>
            <a:endParaRPr lang="fr-FR" dirty="0"/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6" name="Picture 35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43" name="Text Placeholder 2"/>
          <p:cNvSpPr>
            <a:spLocks noGrp="1"/>
          </p:cNvSpPr>
          <p:nvPr>
            <p:ph idx="28" hasCustomPrompt="1"/>
          </p:nvPr>
        </p:nvSpPr>
        <p:spPr>
          <a:xfrm>
            <a:off x="4757024" y="986968"/>
            <a:ext cx="4148863" cy="202652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fr-FR" sz="16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400" kern="12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100" kern="1200" noProof="1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baseline="0" noProof="1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900" kern="1200" noProof="1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24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6" name="Picture 35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281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11" name="Picture 10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pic>
        <p:nvPicPr>
          <p:cNvPr id="12" name="Picture 11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0139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/>
          <p:cNvSpPr>
            <a:spLocks noGrp="1"/>
          </p:cNvSpPr>
          <p:nvPr>
            <p:ph idx="28" hasCustomPrompt="1"/>
          </p:nvPr>
        </p:nvSpPr>
        <p:spPr>
          <a:xfrm>
            <a:off x="3256265" y="986968"/>
            <a:ext cx="5649621" cy="3737653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fr-FR" sz="16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400" kern="12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100" kern="1200" noProof="1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baseline="0" noProof="1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900" kern="1200" noProof="1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36177" y="3767974"/>
            <a:ext cx="2165417" cy="95801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marL="0" indent="0" algn="r">
              <a:buNone/>
              <a:defRPr sz="1200" i="1" baseline="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09" indent="-84136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68" indent="-93661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41" indent="-92073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smtClean="0"/>
              <a:t>Caption.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415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36177" y="3767974"/>
            <a:ext cx="2165417" cy="95801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marL="0" indent="0" algn="r">
              <a:buNone/>
              <a:defRPr sz="1200" i="1" baseline="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09" indent="-84136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68" indent="-93661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41" indent="-92073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smtClean="0"/>
              <a:t>Caption.</a:t>
            </a:r>
            <a:endParaRPr lang="fr-FR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3256267" y="986968"/>
            <a:ext cx="5649620" cy="3737653"/>
          </a:xfrm>
          <a:prstGeom prst="rect">
            <a:avLst/>
          </a:prstGeom>
          <a:solidFill>
            <a:srgbClr val="D9D9D9"/>
          </a:solidFill>
        </p:spPr>
        <p:txBody>
          <a:bodyPr vert="horz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987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ADD5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>
              <a:solidFill>
                <a:srgbClr val="422683"/>
              </a:solidFill>
            </a:endParaRPr>
          </a:p>
        </p:txBody>
      </p:sp>
      <p:pic>
        <p:nvPicPr>
          <p:cNvPr id="18" name="Picture 17" descr="public security OK-r7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1940" y="1"/>
            <a:ext cx="4531946" cy="453194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4170460" y="1151790"/>
            <a:ext cx="822982" cy="23852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 defTabSz="685800"/>
            <a:r>
              <a:rPr lang="fr-FR" sz="1100" dirty="0" smtClean="0">
                <a:solidFill>
                  <a:srgbClr val="422683"/>
                </a:solidFill>
              </a:rPr>
              <a:t>CONTACT</a:t>
            </a:r>
            <a:endParaRPr lang="fr-FR" sz="1100" dirty="0">
              <a:solidFill>
                <a:srgbClr val="422683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Firstname</a:t>
            </a:r>
            <a:r>
              <a:rPr lang="fr-FR" dirty="0" smtClean="0"/>
              <a:t> NAME</a:t>
            </a:r>
            <a:endParaRPr lang="fr-FR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Job </a:t>
            </a:r>
            <a:r>
              <a:rPr lang="fr-FR" dirty="0" err="1" smtClean="0"/>
              <a:t>Title</a:t>
            </a:r>
            <a:r>
              <a:rPr lang="fr-FR" dirty="0" smtClean="0"/>
              <a:t> / Service</a:t>
            </a:r>
            <a:endParaRPr lang="fr-FR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Department</a:t>
            </a:r>
            <a:endParaRPr lang="fr-FR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firstname.lastname@idemia.com</a:t>
            </a:r>
            <a:endParaRPr lang="fr-FR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P. +33 (0) 00 00 00 00</a:t>
            </a:r>
            <a:endParaRPr lang="fr-FR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M. +33 (0) 00 00 00 00</a:t>
            </a:r>
            <a:endParaRPr lang="fr-FR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="0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F. +33 (0) 00 00 00 00</a:t>
            </a:r>
            <a:endParaRPr lang="fr-FR" dirty="0"/>
          </a:p>
        </p:txBody>
      </p:sp>
      <p:pic>
        <p:nvPicPr>
          <p:cNvPr id="19" name="Picture 18" descr="Logo Idemia_RVB viole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7272" y="3258726"/>
            <a:ext cx="2049460" cy="511852"/>
          </a:xfrm>
          <a:prstGeom prst="rect">
            <a:avLst/>
          </a:prstGeom>
        </p:spPr>
      </p:pic>
      <p:pic>
        <p:nvPicPr>
          <p:cNvPr id="20" name="Picture 19" descr="Bloc_Reseaux sociaux_viole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0000" y="4063155"/>
            <a:ext cx="2484000" cy="70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63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1698" y="-17163"/>
            <a:ext cx="9159875" cy="2687638"/>
            <a:chOff x="-5" y="-2"/>
            <a:chExt cx="5770" cy="1693"/>
          </a:xfrm>
        </p:grpSpPr>
        <p:sp>
          <p:nvSpPr>
            <p:cNvPr id="40" name="Line 5"/>
            <p:cNvSpPr>
              <a:spLocks noChangeShapeType="1"/>
            </p:cNvSpPr>
            <p:nvPr/>
          </p:nvSpPr>
          <p:spPr bwMode="auto">
            <a:xfrm flipV="1">
              <a:off x="-5" y="-2"/>
              <a:ext cx="1636" cy="114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1" name="Line 6"/>
            <p:cNvSpPr>
              <a:spLocks noChangeShapeType="1"/>
            </p:cNvSpPr>
            <p:nvPr/>
          </p:nvSpPr>
          <p:spPr bwMode="auto">
            <a:xfrm flipV="1">
              <a:off x="-5" y="-2"/>
              <a:ext cx="1792" cy="1186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2" name="Line 7"/>
            <p:cNvSpPr>
              <a:spLocks noChangeShapeType="1"/>
            </p:cNvSpPr>
            <p:nvPr/>
          </p:nvSpPr>
          <p:spPr bwMode="auto">
            <a:xfrm flipV="1">
              <a:off x="-5" y="-2"/>
              <a:ext cx="1953" cy="1241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auto">
            <a:xfrm flipV="1">
              <a:off x="-5" y="-2"/>
              <a:ext cx="2141" cy="127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4" name="Line 9"/>
            <p:cNvSpPr>
              <a:spLocks noChangeShapeType="1"/>
            </p:cNvSpPr>
            <p:nvPr/>
          </p:nvSpPr>
          <p:spPr bwMode="auto">
            <a:xfrm flipV="1">
              <a:off x="-5" y="-2"/>
              <a:ext cx="2338" cy="131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5" name="Line 10"/>
            <p:cNvSpPr>
              <a:spLocks noChangeShapeType="1"/>
            </p:cNvSpPr>
            <p:nvPr/>
          </p:nvSpPr>
          <p:spPr bwMode="auto">
            <a:xfrm flipV="1">
              <a:off x="-5" y="-2"/>
              <a:ext cx="1190" cy="71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6" name="Line 11"/>
            <p:cNvSpPr>
              <a:spLocks noChangeShapeType="1"/>
            </p:cNvSpPr>
            <p:nvPr/>
          </p:nvSpPr>
          <p:spPr bwMode="auto">
            <a:xfrm flipV="1">
              <a:off x="-5" y="-2"/>
              <a:ext cx="634" cy="31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7" name="Line 12"/>
            <p:cNvSpPr>
              <a:spLocks noChangeShapeType="1"/>
            </p:cNvSpPr>
            <p:nvPr/>
          </p:nvSpPr>
          <p:spPr bwMode="auto">
            <a:xfrm flipV="1">
              <a:off x="-5" y="-2"/>
              <a:ext cx="5370" cy="1601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8" name="Line 13"/>
            <p:cNvSpPr>
              <a:spLocks noChangeShapeType="1"/>
            </p:cNvSpPr>
            <p:nvPr/>
          </p:nvSpPr>
          <p:spPr bwMode="auto">
            <a:xfrm flipV="1">
              <a:off x="-5" y="-2"/>
              <a:ext cx="2559" cy="1352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49" name="Line 14"/>
            <p:cNvSpPr>
              <a:spLocks noChangeShapeType="1"/>
            </p:cNvSpPr>
            <p:nvPr/>
          </p:nvSpPr>
          <p:spPr bwMode="auto">
            <a:xfrm flipV="1">
              <a:off x="-5" y="-2"/>
              <a:ext cx="2793" cy="138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0" name="Line 15"/>
            <p:cNvSpPr>
              <a:spLocks noChangeShapeType="1"/>
            </p:cNvSpPr>
            <p:nvPr/>
          </p:nvSpPr>
          <p:spPr bwMode="auto">
            <a:xfrm flipV="1">
              <a:off x="-5" y="-2"/>
              <a:ext cx="3050" cy="1416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1" name="Line 16"/>
            <p:cNvSpPr>
              <a:spLocks noChangeShapeType="1"/>
            </p:cNvSpPr>
            <p:nvPr/>
          </p:nvSpPr>
          <p:spPr bwMode="auto">
            <a:xfrm flipV="1">
              <a:off x="-5" y="-2"/>
              <a:ext cx="3335" cy="144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2" name="Line 17"/>
            <p:cNvSpPr>
              <a:spLocks noChangeShapeType="1"/>
            </p:cNvSpPr>
            <p:nvPr/>
          </p:nvSpPr>
          <p:spPr bwMode="auto">
            <a:xfrm flipV="1">
              <a:off x="-5" y="-2"/>
              <a:ext cx="3648" cy="148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3" name="Line 18"/>
            <p:cNvSpPr>
              <a:spLocks noChangeShapeType="1"/>
            </p:cNvSpPr>
            <p:nvPr/>
          </p:nvSpPr>
          <p:spPr bwMode="auto">
            <a:xfrm flipV="1">
              <a:off x="-5" y="-2"/>
              <a:ext cx="4010" cy="151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4" name="Line 19"/>
            <p:cNvSpPr>
              <a:spLocks noChangeShapeType="1"/>
            </p:cNvSpPr>
            <p:nvPr/>
          </p:nvSpPr>
          <p:spPr bwMode="auto">
            <a:xfrm flipV="1">
              <a:off x="-5" y="-2"/>
              <a:ext cx="4428" cy="1550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5" name="Line 20"/>
            <p:cNvSpPr>
              <a:spLocks noChangeShapeType="1"/>
            </p:cNvSpPr>
            <p:nvPr/>
          </p:nvSpPr>
          <p:spPr bwMode="auto">
            <a:xfrm flipV="1">
              <a:off x="-5" y="-2"/>
              <a:ext cx="4842" cy="1573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6" name="Line 21"/>
            <p:cNvSpPr>
              <a:spLocks noChangeShapeType="1"/>
            </p:cNvSpPr>
            <p:nvPr/>
          </p:nvSpPr>
          <p:spPr bwMode="auto">
            <a:xfrm flipV="1">
              <a:off x="-5" y="63"/>
              <a:ext cx="5770" cy="156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7" name="Line 22"/>
            <p:cNvSpPr>
              <a:spLocks noChangeShapeType="1"/>
            </p:cNvSpPr>
            <p:nvPr/>
          </p:nvSpPr>
          <p:spPr bwMode="auto">
            <a:xfrm flipV="1">
              <a:off x="-5" y="224"/>
              <a:ext cx="5770" cy="143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  <p:sp>
          <p:nvSpPr>
            <p:cNvPr id="58" name="Line 23"/>
            <p:cNvSpPr>
              <a:spLocks noChangeShapeType="1"/>
            </p:cNvSpPr>
            <p:nvPr/>
          </p:nvSpPr>
          <p:spPr bwMode="auto">
            <a:xfrm flipV="1">
              <a:off x="-5" y="381"/>
              <a:ext cx="5770" cy="1310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ln w="6350">
                  <a:solidFill>
                    <a:srgbClr val="6C6D6B"/>
                  </a:solidFill>
                </a:ln>
                <a:solidFill>
                  <a:srgbClr val="6C6D6B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40" y="1245432"/>
            <a:ext cx="7872484" cy="445241"/>
          </a:xfrm>
        </p:spPr>
        <p:txBody>
          <a:bodyPr vert="horz" lIns="26999" tIns="0" rIns="26999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34" lvl="0" indent="-171434" defTabSz="457142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5" name="Group 7"/>
          <p:cNvGrpSpPr/>
          <p:nvPr/>
        </p:nvGrpSpPr>
        <p:grpSpPr bwMode="black">
          <a:xfrm>
            <a:off x="447677" y="4187831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26999" tIns="0" rIns="26999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fld id="{9C6E2A7D-CF43-40E3-90FA-87778DD65CEB}" type="datetime1">
              <a:rPr lang="en-US"/>
              <a:pPr/>
              <a:t>23-Sep-24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6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40" y="470736"/>
            <a:ext cx="7872484" cy="698501"/>
          </a:xfrm>
        </p:spPr>
        <p:txBody>
          <a:bodyPr vert="horz" lIns="26999" tIns="0" rIns="26999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154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2F1FC36-E43F-483C-ACAC-F3677A3314CD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998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>
            <a:grpSpLocks noChangeAspect="1"/>
          </p:cNvGrpSpPr>
          <p:nvPr/>
        </p:nvGrpSpPr>
        <p:grpSpPr bwMode="auto">
          <a:xfrm>
            <a:off x="-25399" y="-12700"/>
            <a:ext cx="7475538" cy="4356813"/>
            <a:chOff x="1452" y="784"/>
            <a:chExt cx="2862" cy="1668"/>
          </a:xfrm>
        </p:grpSpPr>
        <p:sp>
          <p:nvSpPr>
            <p:cNvPr id="16" name="Line 9"/>
            <p:cNvSpPr>
              <a:spLocks noChangeShapeType="1"/>
            </p:cNvSpPr>
            <p:nvPr/>
          </p:nvSpPr>
          <p:spPr bwMode="auto">
            <a:xfrm>
              <a:off x="1452" y="938"/>
              <a:ext cx="587" cy="93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" name="Line 10"/>
            <p:cNvSpPr>
              <a:spLocks noChangeShapeType="1"/>
            </p:cNvSpPr>
            <p:nvPr/>
          </p:nvSpPr>
          <p:spPr bwMode="auto">
            <a:xfrm flipH="1" flipV="1">
              <a:off x="1467" y="784"/>
              <a:ext cx="617" cy="103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 flipH="1" flipV="1">
              <a:off x="1856" y="784"/>
              <a:ext cx="411" cy="82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" name="Line 12"/>
            <p:cNvSpPr>
              <a:spLocks noChangeShapeType="1"/>
            </p:cNvSpPr>
            <p:nvPr/>
          </p:nvSpPr>
          <p:spPr bwMode="auto">
            <a:xfrm>
              <a:off x="1571" y="784"/>
              <a:ext cx="559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" name="Line 13"/>
            <p:cNvSpPr>
              <a:spLocks noChangeShapeType="1"/>
            </p:cNvSpPr>
            <p:nvPr/>
          </p:nvSpPr>
          <p:spPr bwMode="auto">
            <a:xfrm>
              <a:off x="1766" y="784"/>
              <a:ext cx="456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" name="Line 14"/>
            <p:cNvSpPr>
              <a:spLocks noChangeShapeType="1"/>
            </p:cNvSpPr>
            <p:nvPr/>
          </p:nvSpPr>
          <p:spPr bwMode="auto">
            <a:xfrm>
              <a:off x="1881" y="784"/>
              <a:ext cx="420" cy="83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2" name="Line 15"/>
            <p:cNvSpPr>
              <a:spLocks noChangeShapeType="1"/>
            </p:cNvSpPr>
            <p:nvPr/>
          </p:nvSpPr>
          <p:spPr bwMode="auto">
            <a:xfrm flipH="1" flipV="1">
              <a:off x="1671" y="784"/>
              <a:ext cx="505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2195" y="784"/>
              <a:ext cx="651" cy="95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 flipH="1" flipV="1">
              <a:off x="2180" y="784"/>
              <a:ext cx="632" cy="9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5" name="Line 18"/>
            <p:cNvSpPr>
              <a:spLocks noChangeShapeType="1"/>
            </p:cNvSpPr>
            <p:nvPr/>
          </p:nvSpPr>
          <p:spPr bwMode="auto">
            <a:xfrm>
              <a:off x="2163" y="784"/>
              <a:ext cx="614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6" name="Line 19"/>
            <p:cNvSpPr>
              <a:spLocks noChangeShapeType="1"/>
            </p:cNvSpPr>
            <p:nvPr/>
          </p:nvSpPr>
          <p:spPr bwMode="auto">
            <a:xfrm flipH="1" flipV="1">
              <a:off x="2147" y="784"/>
              <a:ext cx="597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7" name="Line 20"/>
            <p:cNvSpPr>
              <a:spLocks noChangeShapeType="1"/>
            </p:cNvSpPr>
            <p:nvPr/>
          </p:nvSpPr>
          <p:spPr bwMode="auto">
            <a:xfrm>
              <a:off x="2128" y="784"/>
              <a:ext cx="582" cy="9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8" name="Line 21"/>
            <p:cNvSpPr>
              <a:spLocks noChangeShapeType="1"/>
            </p:cNvSpPr>
            <p:nvPr/>
          </p:nvSpPr>
          <p:spPr bwMode="auto">
            <a:xfrm flipH="1" flipV="1">
              <a:off x="1903" y="784"/>
              <a:ext cx="433" cy="8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9" name="Line 22"/>
            <p:cNvSpPr>
              <a:spLocks noChangeShapeType="1"/>
            </p:cNvSpPr>
            <p:nvPr/>
          </p:nvSpPr>
          <p:spPr bwMode="auto">
            <a:xfrm flipH="1" flipV="1">
              <a:off x="2261" y="784"/>
              <a:ext cx="755" cy="9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0" name="Line 23"/>
            <p:cNvSpPr>
              <a:spLocks noChangeShapeType="1"/>
            </p:cNvSpPr>
            <p:nvPr/>
          </p:nvSpPr>
          <p:spPr bwMode="auto">
            <a:xfrm>
              <a:off x="2249" y="784"/>
              <a:ext cx="734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1" name="Line 24"/>
            <p:cNvSpPr>
              <a:spLocks noChangeShapeType="1"/>
            </p:cNvSpPr>
            <p:nvPr/>
          </p:nvSpPr>
          <p:spPr bwMode="auto">
            <a:xfrm flipH="1" flipV="1">
              <a:off x="2236" y="784"/>
              <a:ext cx="712" cy="9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2" name="Line 25"/>
            <p:cNvSpPr>
              <a:spLocks noChangeShapeType="1"/>
            </p:cNvSpPr>
            <p:nvPr/>
          </p:nvSpPr>
          <p:spPr bwMode="auto">
            <a:xfrm>
              <a:off x="2224" y="784"/>
              <a:ext cx="690" cy="9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3" name="Line 26"/>
            <p:cNvSpPr>
              <a:spLocks noChangeShapeType="1"/>
            </p:cNvSpPr>
            <p:nvPr/>
          </p:nvSpPr>
          <p:spPr bwMode="auto">
            <a:xfrm flipH="1" flipV="1">
              <a:off x="2209" y="784"/>
              <a:ext cx="672" cy="95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4" name="Line 27"/>
            <p:cNvSpPr>
              <a:spLocks noChangeShapeType="1"/>
            </p:cNvSpPr>
            <p:nvPr/>
          </p:nvSpPr>
          <p:spPr bwMode="auto">
            <a:xfrm flipH="1" flipV="1">
              <a:off x="1947" y="784"/>
              <a:ext cx="456" cy="85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5" name="Line 28"/>
            <p:cNvSpPr>
              <a:spLocks noChangeShapeType="1"/>
            </p:cNvSpPr>
            <p:nvPr/>
          </p:nvSpPr>
          <p:spPr bwMode="auto">
            <a:xfrm>
              <a:off x="1970" y="784"/>
              <a:ext cx="468" cy="8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6" name="Line 29"/>
            <p:cNvSpPr>
              <a:spLocks noChangeShapeType="1"/>
            </p:cNvSpPr>
            <p:nvPr/>
          </p:nvSpPr>
          <p:spPr bwMode="auto">
            <a:xfrm>
              <a:off x="1924" y="784"/>
              <a:ext cx="445" cy="8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7" name="Line 30"/>
            <p:cNvSpPr>
              <a:spLocks noChangeShapeType="1"/>
            </p:cNvSpPr>
            <p:nvPr/>
          </p:nvSpPr>
          <p:spPr bwMode="auto">
            <a:xfrm flipH="1" flipV="1">
              <a:off x="1991" y="784"/>
              <a:ext cx="480" cy="86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8" name="Line 31"/>
            <p:cNvSpPr>
              <a:spLocks noChangeShapeType="1"/>
            </p:cNvSpPr>
            <p:nvPr/>
          </p:nvSpPr>
          <p:spPr bwMode="auto">
            <a:xfrm flipH="1" flipV="1">
              <a:off x="2072" y="784"/>
              <a:ext cx="537" cy="8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9" name="Line 32"/>
            <p:cNvSpPr>
              <a:spLocks noChangeShapeType="1"/>
            </p:cNvSpPr>
            <p:nvPr/>
          </p:nvSpPr>
          <p:spPr bwMode="auto">
            <a:xfrm>
              <a:off x="2012" y="784"/>
              <a:ext cx="495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0" name="Line 33"/>
            <p:cNvSpPr>
              <a:spLocks noChangeShapeType="1"/>
            </p:cNvSpPr>
            <p:nvPr/>
          </p:nvSpPr>
          <p:spPr bwMode="auto">
            <a:xfrm>
              <a:off x="2091" y="784"/>
              <a:ext cx="551" cy="90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1" name="Line 34"/>
            <p:cNvSpPr>
              <a:spLocks noChangeShapeType="1"/>
            </p:cNvSpPr>
            <p:nvPr/>
          </p:nvSpPr>
          <p:spPr bwMode="auto">
            <a:xfrm>
              <a:off x="2053" y="784"/>
              <a:ext cx="520" cy="8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2" name="Line 35"/>
            <p:cNvSpPr>
              <a:spLocks noChangeShapeType="1"/>
            </p:cNvSpPr>
            <p:nvPr/>
          </p:nvSpPr>
          <p:spPr bwMode="auto">
            <a:xfrm flipH="1" flipV="1">
              <a:off x="2032" y="784"/>
              <a:ext cx="508" cy="88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3" name="Line 36"/>
            <p:cNvSpPr>
              <a:spLocks noChangeShapeType="1"/>
            </p:cNvSpPr>
            <p:nvPr/>
          </p:nvSpPr>
          <p:spPr bwMode="auto">
            <a:xfrm flipH="1" flipV="1">
              <a:off x="2109" y="784"/>
              <a:ext cx="566" cy="9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4" name="Line 37"/>
            <p:cNvSpPr>
              <a:spLocks noChangeShapeType="1"/>
            </p:cNvSpPr>
            <p:nvPr/>
          </p:nvSpPr>
          <p:spPr bwMode="auto">
            <a:xfrm flipH="1" flipV="1">
              <a:off x="1452" y="2404"/>
              <a:ext cx="79" cy="4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5" name="Line 38"/>
            <p:cNvSpPr>
              <a:spLocks noChangeShapeType="1"/>
            </p:cNvSpPr>
            <p:nvPr/>
          </p:nvSpPr>
          <p:spPr bwMode="auto">
            <a:xfrm>
              <a:off x="1452" y="2100"/>
              <a:ext cx="219" cy="1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6" name="Line 39"/>
            <p:cNvSpPr>
              <a:spLocks noChangeShapeType="1"/>
            </p:cNvSpPr>
            <p:nvPr/>
          </p:nvSpPr>
          <p:spPr bwMode="auto">
            <a:xfrm>
              <a:off x="1452" y="2209"/>
              <a:ext cx="173" cy="13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7" name="Line 40"/>
            <p:cNvSpPr>
              <a:spLocks noChangeShapeType="1"/>
            </p:cNvSpPr>
            <p:nvPr/>
          </p:nvSpPr>
          <p:spPr bwMode="auto">
            <a:xfrm>
              <a:off x="1452" y="1111"/>
              <a:ext cx="539" cy="8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41"/>
            <p:cNvSpPr>
              <a:spLocks noChangeShapeType="1"/>
            </p:cNvSpPr>
            <p:nvPr/>
          </p:nvSpPr>
          <p:spPr bwMode="auto">
            <a:xfrm>
              <a:off x="1452" y="1275"/>
              <a:ext cx="493" cy="70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42"/>
            <p:cNvSpPr>
              <a:spLocks noChangeShapeType="1"/>
            </p:cNvSpPr>
            <p:nvPr/>
          </p:nvSpPr>
          <p:spPr bwMode="auto">
            <a:xfrm>
              <a:off x="1452" y="1982"/>
              <a:ext cx="264" cy="26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43"/>
            <p:cNvSpPr>
              <a:spLocks noChangeShapeType="1"/>
            </p:cNvSpPr>
            <p:nvPr/>
          </p:nvSpPr>
          <p:spPr bwMode="auto">
            <a:xfrm>
              <a:off x="1452" y="1431"/>
              <a:ext cx="447" cy="59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1" name="Line 44"/>
            <p:cNvSpPr>
              <a:spLocks noChangeShapeType="1"/>
            </p:cNvSpPr>
            <p:nvPr/>
          </p:nvSpPr>
          <p:spPr bwMode="auto">
            <a:xfrm>
              <a:off x="1452" y="1722"/>
              <a:ext cx="356" cy="41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2" name="Line 45"/>
            <p:cNvSpPr>
              <a:spLocks noChangeShapeType="1"/>
            </p:cNvSpPr>
            <p:nvPr/>
          </p:nvSpPr>
          <p:spPr bwMode="auto">
            <a:xfrm>
              <a:off x="1452" y="1855"/>
              <a:ext cx="310" cy="33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3" name="Line 46"/>
            <p:cNvSpPr>
              <a:spLocks noChangeShapeType="1"/>
            </p:cNvSpPr>
            <p:nvPr/>
          </p:nvSpPr>
          <p:spPr bwMode="auto">
            <a:xfrm>
              <a:off x="1452" y="1581"/>
              <a:ext cx="402" cy="50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4" name="Line 47"/>
            <p:cNvSpPr>
              <a:spLocks noChangeShapeType="1"/>
            </p:cNvSpPr>
            <p:nvPr/>
          </p:nvSpPr>
          <p:spPr bwMode="auto">
            <a:xfrm>
              <a:off x="1452" y="2310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5" name="Line 48"/>
            <p:cNvSpPr>
              <a:spLocks noChangeShapeType="1"/>
            </p:cNvSpPr>
            <p:nvPr/>
          </p:nvSpPr>
          <p:spPr bwMode="auto">
            <a:xfrm flipH="1" flipV="1">
              <a:off x="3047" y="784"/>
              <a:ext cx="595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6" name="Line 49"/>
            <p:cNvSpPr>
              <a:spLocks noChangeShapeType="1"/>
            </p:cNvSpPr>
            <p:nvPr/>
          </p:nvSpPr>
          <p:spPr bwMode="auto">
            <a:xfrm>
              <a:off x="2983" y="784"/>
              <a:ext cx="628" cy="9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50"/>
            <p:cNvSpPr>
              <a:spLocks noChangeShapeType="1"/>
            </p:cNvSpPr>
            <p:nvPr/>
          </p:nvSpPr>
          <p:spPr bwMode="auto">
            <a:xfrm flipH="1" flipV="1">
              <a:off x="2916" y="784"/>
              <a:ext cx="662" cy="9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51"/>
            <p:cNvSpPr>
              <a:spLocks noChangeShapeType="1"/>
            </p:cNvSpPr>
            <p:nvPr/>
          </p:nvSpPr>
          <p:spPr bwMode="auto">
            <a:xfrm>
              <a:off x="2848" y="784"/>
              <a:ext cx="699" cy="100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52"/>
            <p:cNvSpPr>
              <a:spLocks noChangeShapeType="1"/>
            </p:cNvSpPr>
            <p:nvPr/>
          </p:nvSpPr>
          <p:spPr bwMode="auto">
            <a:xfrm>
              <a:off x="3112" y="784"/>
              <a:ext cx="561" cy="9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53"/>
            <p:cNvSpPr>
              <a:spLocks noChangeShapeType="1"/>
            </p:cNvSpPr>
            <p:nvPr/>
          </p:nvSpPr>
          <p:spPr bwMode="auto">
            <a:xfrm>
              <a:off x="3877" y="784"/>
              <a:ext cx="246" cy="86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54"/>
            <p:cNvSpPr>
              <a:spLocks noChangeShapeType="1"/>
            </p:cNvSpPr>
            <p:nvPr/>
          </p:nvSpPr>
          <p:spPr bwMode="auto">
            <a:xfrm flipH="1" flipV="1">
              <a:off x="3827" y="784"/>
              <a:ext cx="262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55"/>
            <p:cNvSpPr>
              <a:spLocks noChangeShapeType="1"/>
            </p:cNvSpPr>
            <p:nvPr/>
          </p:nvSpPr>
          <p:spPr bwMode="auto">
            <a:xfrm flipH="1" flipV="1">
              <a:off x="3925" y="784"/>
              <a:ext cx="229" cy="8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56"/>
            <p:cNvSpPr>
              <a:spLocks noChangeShapeType="1"/>
            </p:cNvSpPr>
            <p:nvPr/>
          </p:nvSpPr>
          <p:spPr bwMode="auto">
            <a:xfrm>
              <a:off x="3676" y="784"/>
              <a:ext cx="318" cy="8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57"/>
            <p:cNvSpPr>
              <a:spLocks noChangeShapeType="1"/>
            </p:cNvSpPr>
            <p:nvPr/>
          </p:nvSpPr>
          <p:spPr bwMode="auto">
            <a:xfrm>
              <a:off x="3777" y="784"/>
              <a:ext cx="281" cy="88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58"/>
            <p:cNvSpPr>
              <a:spLocks noChangeShapeType="1"/>
            </p:cNvSpPr>
            <p:nvPr/>
          </p:nvSpPr>
          <p:spPr bwMode="auto">
            <a:xfrm flipH="1" flipV="1">
              <a:off x="3728" y="784"/>
              <a:ext cx="299" cy="8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59"/>
            <p:cNvSpPr>
              <a:spLocks noChangeShapeType="1"/>
            </p:cNvSpPr>
            <p:nvPr/>
          </p:nvSpPr>
          <p:spPr bwMode="auto">
            <a:xfrm flipH="1" flipV="1">
              <a:off x="4110" y="784"/>
              <a:ext cx="173" cy="83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60"/>
            <p:cNvSpPr>
              <a:spLocks noChangeShapeType="1"/>
            </p:cNvSpPr>
            <p:nvPr/>
          </p:nvSpPr>
          <p:spPr bwMode="auto">
            <a:xfrm>
              <a:off x="4064" y="784"/>
              <a:ext cx="186" cy="8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61"/>
            <p:cNvSpPr>
              <a:spLocks noChangeShapeType="1"/>
            </p:cNvSpPr>
            <p:nvPr/>
          </p:nvSpPr>
          <p:spPr bwMode="auto">
            <a:xfrm flipH="1" flipV="1">
              <a:off x="4019" y="784"/>
              <a:ext cx="199" cy="8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62"/>
            <p:cNvSpPr>
              <a:spLocks noChangeShapeType="1"/>
            </p:cNvSpPr>
            <p:nvPr/>
          </p:nvSpPr>
          <p:spPr bwMode="auto">
            <a:xfrm>
              <a:off x="3973" y="784"/>
              <a:ext cx="212" cy="85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63"/>
            <p:cNvSpPr>
              <a:spLocks noChangeShapeType="1"/>
            </p:cNvSpPr>
            <p:nvPr/>
          </p:nvSpPr>
          <p:spPr bwMode="auto">
            <a:xfrm>
              <a:off x="3463" y="784"/>
              <a:ext cx="404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64"/>
            <p:cNvSpPr>
              <a:spLocks noChangeShapeType="1"/>
            </p:cNvSpPr>
            <p:nvPr/>
          </p:nvSpPr>
          <p:spPr bwMode="auto">
            <a:xfrm>
              <a:off x="3351" y="784"/>
              <a:ext cx="451" cy="9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65"/>
            <p:cNvSpPr>
              <a:spLocks noChangeShapeType="1"/>
            </p:cNvSpPr>
            <p:nvPr/>
          </p:nvSpPr>
          <p:spPr bwMode="auto">
            <a:xfrm flipH="1" flipV="1">
              <a:off x="3293" y="784"/>
              <a:ext cx="478" cy="95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66"/>
            <p:cNvSpPr>
              <a:spLocks noChangeShapeType="1"/>
            </p:cNvSpPr>
            <p:nvPr/>
          </p:nvSpPr>
          <p:spPr bwMode="auto">
            <a:xfrm flipH="1" flipV="1">
              <a:off x="3626" y="784"/>
              <a:ext cx="337" cy="90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67"/>
            <p:cNvSpPr>
              <a:spLocks noChangeShapeType="1"/>
            </p:cNvSpPr>
            <p:nvPr/>
          </p:nvSpPr>
          <p:spPr bwMode="auto">
            <a:xfrm flipH="1" flipV="1">
              <a:off x="3172" y="784"/>
              <a:ext cx="535" cy="9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68"/>
            <p:cNvSpPr>
              <a:spLocks noChangeShapeType="1"/>
            </p:cNvSpPr>
            <p:nvPr/>
          </p:nvSpPr>
          <p:spPr bwMode="auto">
            <a:xfrm>
              <a:off x="3233" y="784"/>
              <a:ext cx="505" cy="95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69"/>
            <p:cNvSpPr>
              <a:spLocks noChangeShapeType="1"/>
            </p:cNvSpPr>
            <p:nvPr/>
          </p:nvSpPr>
          <p:spPr bwMode="auto">
            <a:xfrm flipH="1" flipV="1">
              <a:off x="3517" y="784"/>
              <a:ext cx="381" cy="9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70"/>
            <p:cNvSpPr>
              <a:spLocks noChangeShapeType="1"/>
            </p:cNvSpPr>
            <p:nvPr/>
          </p:nvSpPr>
          <p:spPr bwMode="auto">
            <a:xfrm>
              <a:off x="3572" y="784"/>
              <a:ext cx="357" cy="9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71"/>
            <p:cNvSpPr>
              <a:spLocks noChangeShapeType="1"/>
            </p:cNvSpPr>
            <p:nvPr/>
          </p:nvSpPr>
          <p:spPr bwMode="auto">
            <a:xfrm flipH="1" flipV="1">
              <a:off x="3407" y="784"/>
              <a:ext cx="427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72"/>
            <p:cNvSpPr>
              <a:spLocks noChangeShapeType="1"/>
            </p:cNvSpPr>
            <p:nvPr/>
          </p:nvSpPr>
          <p:spPr bwMode="auto">
            <a:xfrm flipH="1" flipV="1">
              <a:off x="2634" y="784"/>
              <a:ext cx="817" cy="10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73"/>
            <p:cNvSpPr>
              <a:spLocks noChangeShapeType="1"/>
            </p:cNvSpPr>
            <p:nvPr/>
          </p:nvSpPr>
          <p:spPr bwMode="auto">
            <a:xfrm flipH="1" flipV="1">
              <a:off x="2428" y="905"/>
              <a:ext cx="894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74"/>
            <p:cNvSpPr>
              <a:spLocks noChangeShapeType="1"/>
            </p:cNvSpPr>
            <p:nvPr/>
          </p:nvSpPr>
          <p:spPr bwMode="auto">
            <a:xfrm>
              <a:off x="2706" y="784"/>
              <a:ext cx="776" cy="10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75"/>
            <p:cNvSpPr>
              <a:spLocks noChangeShapeType="1"/>
            </p:cNvSpPr>
            <p:nvPr/>
          </p:nvSpPr>
          <p:spPr bwMode="auto">
            <a:xfrm flipH="1" flipV="1">
              <a:off x="2363" y="842"/>
              <a:ext cx="892" cy="98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76"/>
            <p:cNvSpPr>
              <a:spLocks noChangeShapeType="1"/>
            </p:cNvSpPr>
            <p:nvPr/>
          </p:nvSpPr>
          <p:spPr bwMode="auto">
            <a:xfrm flipH="1" flipV="1">
              <a:off x="2332" y="811"/>
              <a:ext cx="888" cy="10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77"/>
            <p:cNvSpPr>
              <a:spLocks noChangeShapeType="1"/>
            </p:cNvSpPr>
            <p:nvPr/>
          </p:nvSpPr>
          <p:spPr bwMode="auto">
            <a:xfrm>
              <a:off x="2272" y="784"/>
              <a:ext cx="777" cy="9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78"/>
            <p:cNvSpPr>
              <a:spLocks noChangeShapeType="1"/>
            </p:cNvSpPr>
            <p:nvPr/>
          </p:nvSpPr>
          <p:spPr bwMode="auto">
            <a:xfrm flipH="1" flipV="1">
              <a:off x="2478" y="873"/>
              <a:ext cx="877" cy="9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79"/>
            <p:cNvSpPr>
              <a:spLocks noChangeShapeType="1"/>
            </p:cNvSpPr>
            <p:nvPr/>
          </p:nvSpPr>
          <p:spPr bwMode="auto">
            <a:xfrm>
              <a:off x="2290" y="784"/>
              <a:ext cx="828" cy="10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80"/>
            <p:cNvSpPr>
              <a:spLocks noChangeShapeType="1"/>
            </p:cNvSpPr>
            <p:nvPr/>
          </p:nvSpPr>
          <p:spPr bwMode="auto">
            <a:xfrm flipH="1" flipV="1">
              <a:off x="2527" y="842"/>
              <a:ext cx="859" cy="98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81"/>
            <p:cNvSpPr>
              <a:spLocks noChangeShapeType="1"/>
            </p:cNvSpPr>
            <p:nvPr/>
          </p:nvSpPr>
          <p:spPr bwMode="auto">
            <a:xfrm>
              <a:off x="2579" y="811"/>
              <a:ext cx="839" cy="10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82"/>
            <p:cNvSpPr>
              <a:spLocks noChangeShapeType="1"/>
            </p:cNvSpPr>
            <p:nvPr/>
          </p:nvSpPr>
          <p:spPr bwMode="auto">
            <a:xfrm flipH="1" flipV="1">
              <a:off x="2297" y="784"/>
              <a:ext cx="856" cy="10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83"/>
            <p:cNvSpPr>
              <a:spLocks noChangeShapeType="1"/>
            </p:cNvSpPr>
            <p:nvPr/>
          </p:nvSpPr>
          <p:spPr bwMode="auto">
            <a:xfrm flipH="1" flipV="1">
              <a:off x="2394" y="873"/>
              <a:ext cx="895" cy="9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84"/>
            <p:cNvSpPr>
              <a:spLocks noChangeShapeType="1"/>
            </p:cNvSpPr>
            <p:nvPr/>
          </p:nvSpPr>
          <p:spPr bwMode="auto">
            <a:xfrm flipH="1" flipV="1">
              <a:off x="2282" y="784"/>
              <a:ext cx="803" cy="100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85"/>
            <p:cNvSpPr>
              <a:spLocks noChangeShapeType="1"/>
            </p:cNvSpPr>
            <p:nvPr/>
          </p:nvSpPr>
          <p:spPr bwMode="auto">
            <a:xfrm>
              <a:off x="4156" y="784"/>
              <a:ext cx="158" cy="82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86"/>
            <p:cNvSpPr>
              <a:spLocks noChangeShapeType="1"/>
            </p:cNvSpPr>
            <p:nvPr/>
          </p:nvSpPr>
          <p:spPr bwMode="auto">
            <a:xfrm flipH="1" flipV="1">
              <a:off x="2303" y="784"/>
              <a:ext cx="884" cy="10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4" name="Line 87"/>
            <p:cNvSpPr>
              <a:spLocks noChangeShapeType="1"/>
            </p:cNvSpPr>
            <p:nvPr/>
          </p:nvSpPr>
          <p:spPr bwMode="auto">
            <a:xfrm flipH="1" flipV="1">
              <a:off x="2779" y="784"/>
              <a:ext cx="736" cy="10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401300"/>
            <a:ext cx="7857000" cy="1485000"/>
          </a:xfrm>
        </p:spPr>
        <p:txBody>
          <a:bodyPr vert="horz" lIns="26999" tIns="0" rIns="26999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42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26999" tIns="0" rIns="26999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34" lvl="0" indent="-171434" defTabSz="457142">
              <a:spcBef>
                <a:spcPts val="0"/>
              </a:spcBef>
              <a:buSzPct val="100000"/>
            </a:pPr>
            <a:r>
              <a:rPr lang="fr-FR" smtClean="0"/>
              <a:t>Modifier le style des sous-titres du masque</a:t>
            </a:r>
            <a:endParaRPr lang="en-US" dirty="0"/>
          </a:p>
        </p:txBody>
      </p:sp>
      <p:grpSp>
        <p:nvGrpSpPr>
          <p:cNvPr id="5" name="Group 7"/>
          <p:cNvGrpSpPr/>
          <p:nvPr/>
        </p:nvGrpSpPr>
        <p:grpSpPr bwMode="black">
          <a:xfrm>
            <a:off x="447677" y="4187831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26999" tIns="0" rIns="26999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fld id="{3C28EF7B-8615-4A66-97C8-3468AA6A6ED5}" type="datetime1">
              <a:rPr lang="en-US"/>
              <a:pPr/>
              <a:t>23-Sep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156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36176" y="3767974"/>
            <a:ext cx="2165417" cy="95801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marL="0" indent="0" algn="r">
              <a:buNone/>
              <a:defRPr sz="1200" i="1" baseline="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13" indent="-84138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75" indent="-93663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50" indent="-92075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smtClean="0"/>
              <a:t>Caption.</a:t>
            </a:r>
            <a:endParaRPr lang="fr-FR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3256266" y="986967"/>
            <a:ext cx="5649620" cy="3737653"/>
          </a:xfrm>
          <a:prstGeom prst="rect">
            <a:avLst/>
          </a:prstGeom>
          <a:solidFill>
            <a:srgbClr val="D9D9D9"/>
          </a:solidFill>
        </p:spPr>
        <p:txBody>
          <a:bodyPr vert="horz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bandeau pied de page O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6" y="797845"/>
            <a:ext cx="463265" cy="3791459"/>
          </a:xfrm>
          <a:prstGeom prst="rect">
            <a:avLst/>
          </a:prstGeom>
        </p:spPr>
      </p:pic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4F2F7783-0E8E-954E-B855-D7D47DCD51FE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05689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>
            <a:grpSpLocks noChangeAspect="1"/>
          </p:cNvGrpSpPr>
          <p:nvPr/>
        </p:nvGrpSpPr>
        <p:grpSpPr bwMode="auto">
          <a:xfrm>
            <a:off x="-25399" y="-12700"/>
            <a:ext cx="7475538" cy="4356813"/>
            <a:chOff x="1452" y="784"/>
            <a:chExt cx="2862" cy="1668"/>
          </a:xfrm>
        </p:grpSpPr>
        <p:sp>
          <p:nvSpPr>
            <p:cNvPr id="17" name="Line 9"/>
            <p:cNvSpPr>
              <a:spLocks noChangeShapeType="1"/>
            </p:cNvSpPr>
            <p:nvPr/>
          </p:nvSpPr>
          <p:spPr bwMode="auto">
            <a:xfrm>
              <a:off x="1452" y="938"/>
              <a:ext cx="587" cy="93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" name="Line 10"/>
            <p:cNvSpPr>
              <a:spLocks noChangeShapeType="1"/>
            </p:cNvSpPr>
            <p:nvPr/>
          </p:nvSpPr>
          <p:spPr bwMode="auto">
            <a:xfrm flipH="1" flipV="1">
              <a:off x="1467" y="784"/>
              <a:ext cx="617" cy="103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" name="Line 11"/>
            <p:cNvSpPr>
              <a:spLocks noChangeShapeType="1"/>
            </p:cNvSpPr>
            <p:nvPr/>
          </p:nvSpPr>
          <p:spPr bwMode="auto">
            <a:xfrm flipH="1" flipV="1">
              <a:off x="1856" y="784"/>
              <a:ext cx="411" cy="82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" name="Line 12"/>
            <p:cNvSpPr>
              <a:spLocks noChangeShapeType="1"/>
            </p:cNvSpPr>
            <p:nvPr/>
          </p:nvSpPr>
          <p:spPr bwMode="auto">
            <a:xfrm>
              <a:off x="1571" y="784"/>
              <a:ext cx="559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" name="Line 13"/>
            <p:cNvSpPr>
              <a:spLocks noChangeShapeType="1"/>
            </p:cNvSpPr>
            <p:nvPr/>
          </p:nvSpPr>
          <p:spPr bwMode="auto">
            <a:xfrm>
              <a:off x="1766" y="784"/>
              <a:ext cx="456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2" name="Line 14"/>
            <p:cNvSpPr>
              <a:spLocks noChangeShapeType="1"/>
            </p:cNvSpPr>
            <p:nvPr/>
          </p:nvSpPr>
          <p:spPr bwMode="auto">
            <a:xfrm>
              <a:off x="1881" y="784"/>
              <a:ext cx="420" cy="83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3" name="Line 15"/>
            <p:cNvSpPr>
              <a:spLocks noChangeShapeType="1"/>
            </p:cNvSpPr>
            <p:nvPr/>
          </p:nvSpPr>
          <p:spPr bwMode="auto">
            <a:xfrm flipH="1" flipV="1">
              <a:off x="1671" y="784"/>
              <a:ext cx="505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4" name="Line 16"/>
            <p:cNvSpPr>
              <a:spLocks noChangeShapeType="1"/>
            </p:cNvSpPr>
            <p:nvPr/>
          </p:nvSpPr>
          <p:spPr bwMode="auto">
            <a:xfrm>
              <a:off x="2195" y="784"/>
              <a:ext cx="651" cy="95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5" name="Line 17"/>
            <p:cNvSpPr>
              <a:spLocks noChangeShapeType="1"/>
            </p:cNvSpPr>
            <p:nvPr/>
          </p:nvSpPr>
          <p:spPr bwMode="auto">
            <a:xfrm flipH="1" flipV="1">
              <a:off x="2180" y="784"/>
              <a:ext cx="632" cy="9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6" name="Line 18"/>
            <p:cNvSpPr>
              <a:spLocks noChangeShapeType="1"/>
            </p:cNvSpPr>
            <p:nvPr/>
          </p:nvSpPr>
          <p:spPr bwMode="auto">
            <a:xfrm>
              <a:off x="2163" y="784"/>
              <a:ext cx="614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7" name="Line 19"/>
            <p:cNvSpPr>
              <a:spLocks noChangeShapeType="1"/>
            </p:cNvSpPr>
            <p:nvPr/>
          </p:nvSpPr>
          <p:spPr bwMode="auto">
            <a:xfrm flipH="1" flipV="1">
              <a:off x="2147" y="784"/>
              <a:ext cx="597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8" name="Line 20"/>
            <p:cNvSpPr>
              <a:spLocks noChangeShapeType="1"/>
            </p:cNvSpPr>
            <p:nvPr/>
          </p:nvSpPr>
          <p:spPr bwMode="auto">
            <a:xfrm>
              <a:off x="2128" y="784"/>
              <a:ext cx="582" cy="9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9" name="Line 21"/>
            <p:cNvSpPr>
              <a:spLocks noChangeShapeType="1"/>
            </p:cNvSpPr>
            <p:nvPr/>
          </p:nvSpPr>
          <p:spPr bwMode="auto">
            <a:xfrm flipH="1" flipV="1">
              <a:off x="1903" y="784"/>
              <a:ext cx="433" cy="8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0" name="Line 22"/>
            <p:cNvSpPr>
              <a:spLocks noChangeShapeType="1"/>
            </p:cNvSpPr>
            <p:nvPr/>
          </p:nvSpPr>
          <p:spPr bwMode="auto">
            <a:xfrm flipH="1" flipV="1">
              <a:off x="2261" y="784"/>
              <a:ext cx="755" cy="9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1" name="Line 23"/>
            <p:cNvSpPr>
              <a:spLocks noChangeShapeType="1"/>
            </p:cNvSpPr>
            <p:nvPr/>
          </p:nvSpPr>
          <p:spPr bwMode="auto">
            <a:xfrm>
              <a:off x="2249" y="784"/>
              <a:ext cx="734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2" name="Line 24"/>
            <p:cNvSpPr>
              <a:spLocks noChangeShapeType="1"/>
            </p:cNvSpPr>
            <p:nvPr/>
          </p:nvSpPr>
          <p:spPr bwMode="auto">
            <a:xfrm flipH="1" flipV="1">
              <a:off x="2236" y="784"/>
              <a:ext cx="712" cy="9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3" name="Line 25"/>
            <p:cNvSpPr>
              <a:spLocks noChangeShapeType="1"/>
            </p:cNvSpPr>
            <p:nvPr/>
          </p:nvSpPr>
          <p:spPr bwMode="auto">
            <a:xfrm>
              <a:off x="2224" y="784"/>
              <a:ext cx="690" cy="9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4" name="Line 26"/>
            <p:cNvSpPr>
              <a:spLocks noChangeShapeType="1"/>
            </p:cNvSpPr>
            <p:nvPr/>
          </p:nvSpPr>
          <p:spPr bwMode="auto">
            <a:xfrm flipH="1" flipV="1">
              <a:off x="2209" y="784"/>
              <a:ext cx="672" cy="95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5" name="Line 27"/>
            <p:cNvSpPr>
              <a:spLocks noChangeShapeType="1"/>
            </p:cNvSpPr>
            <p:nvPr/>
          </p:nvSpPr>
          <p:spPr bwMode="auto">
            <a:xfrm flipH="1" flipV="1">
              <a:off x="1947" y="784"/>
              <a:ext cx="456" cy="85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6" name="Line 28"/>
            <p:cNvSpPr>
              <a:spLocks noChangeShapeType="1"/>
            </p:cNvSpPr>
            <p:nvPr/>
          </p:nvSpPr>
          <p:spPr bwMode="auto">
            <a:xfrm>
              <a:off x="1970" y="784"/>
              <a:ext cx="468" cy="8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7" name="Line 29"/>
            <p:cNvSpPr>
              <a:spLocks noChangeShapeType="1"/>
            </p:cNvSpPr>
            <p:nvPr/>
          </p:nvSpPr>
          <p:spPr bwMode="auto">
            <a:xfrm>
              <a:off x="1924" y="784"/>
              <a:ext cx="445" cy="8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8" name="Line 30"/>
            <p:cNvSpPr>
              <a:spLocks noChangeShapeType="1"/>
            </p:cNvSpPr>
            <p:nvPr/>
          </p:nvSpPr>
          <p:spPr bwMode="auto">
            <a:xfrm flipH="1" flipV="1">
              <a:off x="1991" y="784"/>
              <a:ext cx="480" cy="86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9" name="Line 31"/>
            <p:cNvSpPr>
              <a:spLocks noChangeShapeType="1"/>
            </p:cNvSpPr>
            <p:nvPr/>
          </p:nvSpPr>
          <p:spPr bwMode="auto">
            <a:xfrm flipH="1" flipV="1">
              <a:off x="2072" y="784"/>
              <a:ext cx="537" cy="8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0" name="Line 32"/>
            <p:cNvSpPr>
              <a:spLocks noChangeShapeType="1"/>
            </p:cNvSpPr>
            <p:nvPr/>
          </p:nvSpPr>
          <p:spPr bwMode="auto">
            <a:xfrm>
              <a:off x="2012" y="784"/>
              <a:ext cx="495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1" name="Line 33"/>
            <p:cNvSpPr>
              <a:spLocks noChangeShapeType="1"/>
            </p:cNvSpPr>
            <p:nvPr/>
          </p:nvSpPr>
          <p:spPr bwMode="auto">
            <a:xfrm>
              <a:off x="2091" y="784"/>
              <a:ext cx="551" cy="90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2" name="Line 34"/>
            <p:cNvSpPr>
              <a:spLocks noChangeShapeType="1"/>
            </p:cNvSpPr>
            <p:nvPr/>
          </p:nvSpPr>
          <p:spPr bwMode="auto">
            <a:xfrm>
              <a:off x="2053" y="784"/>
              <a:ext cx="520" cy="8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3" name="Line 35"/>
            <p:cNvSpPr>
              <a:spLocks noChangeShapeType="1"/>
            </p:cNvSpPr>
            <p:nvPr/>
          </p:nvSpPr>
          <p:spPr bwMode="auto">
            <a:xfrm flipH="1" flipV="1">
              <a:off x="2032" y="784"/>
              <a:ext cx="508" cy="88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4" name="Line 36"/>
            <p:cNvSpPr>
              <a:spLocks noChangeShapeType="1"/>
            </p:cNvSpPr>
            <p:nvPr/>
          </p:nvSpPr>
          <p:spPr bwMode="auto">
            <a:xfrm flipH="1" flipV="1">
              <a:off x="2109" y="784"/>
              <a:ext cx="566" cy="9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5" name="Line 37"/>
            <p:cNvSpPr>
              <a:spLocks noChangeShapeType="1"/>
            </p:cNvSpPr>
            <p:nvPr/>
          </p:nvSpPr>
          <p:spPr bwMode="auto">
            <a:xfrm flipH="1" flipV="1">
              <a:off x="1452" y="2404"/>
              <a:ext cx="79" cy="4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6" name="Line 38"/>
            <p:cNvSpPr>
              <a:spLocks noChangeShapeType="1"/>
            </p:cNvSpPr>
            <p:nvPr/>
          </p:nvSpPr>
          <p:spPr bwMode="auto">
            <a:xfrm>
              <a:off x="1452" y="2100"/>
              <a:ext cx="219" cy="1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7" name="Line 39"/>
            <p:cNvSpPr>
              <a:spLocks noChangeShapeType="1"/>
            </p:cNvSpPr>
            <p:nvPr/>
          </p:nvSpPr>
          <p:spPr bwMode="auto">
            <a:xfrm>
              <a:off x="1452" y="2209"/>
              <a:ext cx="173" cy="13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40"/>
            <p:cNvSpPr>
              <a:spLocks noChangeShapeType="1"/>
            </p:cNvSpPr>
            <p:nvPr/>
          </p:nvSpPr>
          <p:spPr bwMode="auto">
            <a:xfrm>
              <a:off x="1452" y="1111"/>
              <a:ext cx="539" cy="8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41"/>
            <p:cNvSpPr>
              <a:spLocks noChangeShapeType="1"/>
            </p:cNvSpPr>
            <p:nvPr/>
          </p:nvSpPr>
          <p:spPr bwMode="auto">
            <a:xfrm>
              <a:off x="1452" y="1275"/>
              <a:ext cx="493" cy="70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42"/>
            <p:cNvSpPr>
              <a:spLocks noChangeShapeType="1"/>
            </p:cNvSpPr>
            <p:nvPr/>
          </p:nvSpPr>
          <p:spPr bwMode="auto">
            <a:xfrm>
              <a:off x="1452" y="1982"/>
              <a:ext cx="264" cy="26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1" name="Line 43"/>
            <p:cNvSpPr>
              <a:spLocks noChangeShapeType="1"/>
            </p:cNvSpPr>
            <p:nvPr/>
          </p:nvSpPr>
          <p:spPr bwMode="auto">
            <a:xfrm>
              <a:off x="1452" y="1431"/>
              <a:ext cx="447" cy="59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2" name="Line 44"/>
            <p:cNvSpPr>
              <a:spLocks noChangeShapeType="1"/>
            </p:cNvSpPr>
            <p:nvPr/>
          </p:nvSpPr>
          <p:spPr bwMode="auto">
            <a:xfrm>
              <a:off x="1452" y="1722"/>
              <a:ext cx="356" cy="41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3" name="Line 45"/>
            <p:cNvSpPr>
              <a:spLocks noChangeShapeType="1"/>
            </p:cNvSpPr>
            <p:nvPr/>
          </p:nvSpPr>
          <p:spPr bwMode="auto">
            <a:xfrm>
              <a:off x="1452" y="1855"/>
              <a:ext cx="310" cy="33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4" name="Line 46"/>
            <p:cNvSpPr>
              <a:spLocks noChangeShapeType="1"/>
            </p:cNvSpPr>
            <p:nvPr/>
          </p:nvSpPr>
          <p:spPr bwMode="auto">
            <a:xfrm>
              <a:off x="1452" y="1581"/>
              <a:ext cx="402" cy="50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5" name="Line 47"/>
            <p:cNvSpPr>
              <a:spLocks noChangeShapeType="1"/>
            </p:cNvSpPr>
            <p:nvPr/>
          </p:nvSpPr>
          <p:spPr bwMode="auto">
            <a:xfrm>
              <a:off x="1452" y="2310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6" name="Line 48"/>
            <p:cNvSpPr>
              <a:spLocks noChangeShapeType="1"/>
            </p:cNvSpPr>
            <p:nvPr/>
          </p:nvSpPr>
          <p:spPr bwMode="auto">
            <a:xfrm flipH="1" flipV="1">
              <a:off x="3047" y="784"/>
              <a:ext cx="595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49"/>
            <p:cNvSpPr>
              <a:spLocks noChangeShapeType="1"/>
            </p:cNvSpPr>
            <p:nvPr/>
          </p:nvSpPr>
          <p:spPr bwMode="auto">
            <a:xfrm>
              <a:off x="2983" y="784"/>
              <a:ext cx="628" cy="9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50"/>
            <p:cNvSpPr>
              <a:spLocks noChangeShapeType="1"/>
            </p:cNvSpPr>
            <p:nvPr/>
          </p:nvSpPr>
          <p:spPr bwMode="auto">
            <a:xfrm flipH="1" flipV="1">
              <a:off x="2916" y="784"/>
              <a:ext cx="662" cy="9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51"/>
            <p:cNvSpPr>
              <a:spLocks noChangeShapeType="1"/>
            </p:cNvSpPr>
            <p:nvPr/>
          </p:nvSpPr>
          <p:spPr bwMode="auto">
            <a:xfrm>
              <a:off x="2848" y="784"/>
              <a:ext cx="699" cy="100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52"/>
            <p:cNvSpPr>
              <a:spLocks noChangeShapeType="1"/>
            </p:cNvSpPr>
            <p:nvPr/>
          </p:nvSpPr>
          <p:spPr bwMode="auto">
            <a:xfrm>
              <a:off x="3112" y="784"/>
              <a:ext cx="561" cy="9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53"/>
            <p:cNvSpPr>
              <a:spLocks noChangeShapeType="1"/>
            </p:cNvSpPr>
            <p:nvPr/>
          </p:nvSpPr>
          <p:spPr bwMode="auto">
            <a:xfrm>
              <a:off x="3877" y="784"/>
              <a:ext cx="246" cy="86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54"/>
            <p:cNvSpPr>
              <a:spLocks noChangeShapeType="1"/>
            </p:cNvSpPr>
            <p:nvPr/>
          </p:nvSpPr>
          <p:spPr bwMode="auto">
            <a:xfrm flipH="1" flipV="1">
              <a:off x="3827" y="784"/>
              <a:ext cx="262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55"/>
            <p:cNvSpPr>
              <a:spLocks noChangeShapeType="1"/>
            </p:cNvSpPr>
            <p:nvPr/>
          </p:nvSpPr>
          <p:spPr bwMode="auto">
            <a:xfrm flipH="1" flipV="1">
              <a:off x="3925" y="784"/>
              <a:ext cx="229" cy="8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56"/>
            <p:cNvSpPr>
              <a:spLocks noChangeShapeType="1"/>
            </p:cNvSpPr>
            <p:nvPr/>
          </p:nvSpPr>
          <p:spPr bwMode="auto">
            <a:xfrm>
              <a:off x="3676" y="784"/>
              <a:ext cx="318" cy="8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57"/>
            <p:cNvSpPr>
              <a:spLocks noChangeShapeType="1"/>
            </p:cNvSpPr>
            <p:nvPr/>
          </p:nvSpPr>
          <p:spPr bwMode="auto">
            <a:xfrm>
              <a:off x="3777" y="784"/>
              <a:ext cx="281" cy="88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58"/>
            <p:cNvSpPr>
              <a:spLocks noChangeShapeType="1"/>
            </p:cNvSpPr>
            <p:nvPr/>
          </p:nvSpPr>
          <p:spPr bwMode="auto">
            <a:xfrm flipH="1" flipV="1">
              <a:off x="3728" y="784"/>
              <a:ext cx="299" cy="8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59"/>
            <p:cNvSpPr>
              <a:spLocks noChangeShapeType="1"/>
            </p:cNvSpPr>
            <p:nvPr/>
          </p:nvSpPr>
          <p:spPr bwMode="auto">
            <a:xfrm flipH="1" flipV="1">
              <a:off x="4110" y="784"/>
              <a:ext cx="173" cy="83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60"/>
            <p:cNvSpPr>
              <a:spLocks noChangeShapeType="1"/>
            </p:cNvSpPr>
            <p:nvPr/>
          </p:nvSpPr>
          <p:spPr bwMode="auto">
            <a:xfrm>
              <a:off x="4064" y="784"/>
              <a:ext cx="186" cy="8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61"/>
            <p:cNvSpPr>
              <a:spLocks noChangeShapeType="1"/>
            </p:cNvSpPr>
            <p:nvPr/>
          </p:nvSpPr>
          <p:spPr bwMode="auto">
            <a:xfrm flipH="1" flipV="1">
              <a:off x="4019" y="784"/>
              <a:ext cx="199" cy="8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62"/>
            <p:cNvSpPr>
              <a:spLocks noChangeShapeType="1"/>
            </p:cNvSpPr>
            <p:nvPr/>
          </p:nvSpPr>
          <p:spPr bwMode="auto">
            <a:xfrm>
              <a:off x="3973" y="784"/>
              <a:ext cx="212" cy="85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63"/>
            <p:cNvSpPr>
              <a:spLocks noChangeShapeType="1"/>
            </p:cNvSpPr>
            <p:nvPr/>
          </p:nvSpPr>
          <p:spPr bwMode="auto">
            <a:xfrm>
              <a:off x="3463" y="784"/>
              <a:ext cx="404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64"/>
            <p:cNvSpPr>
              <a:spLocks noChangeShapeType="1"/>
            </p:cNvSpPr>
            <p:nvPr/>
          </p:nvSpPr>
          <p:spPr bwMode="auto">
            <a:xfrm>
              <a:off x="3351" y="784"/>
              <a:ext cx="451" cy="9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65"/>
            <p:cNvSpPr>
              <a:spLocks noChangeShapeType="1"/>
            </p:cNvSpPr>
            <p:nvPr/>
          </p:nvSpPr>
          <p:spPr bwMode="auto">
            <a:xfrm flipH="1" flipV="1">
              <a:off x="3293" y="784"/>
              <a:ext cx="478" cy="95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66"/>
            <p:cNvSpPr>
              <a:spLocks noChangeShapeType="1"/>
            </p:cNvSpPr>
            <p:nvPr/>
          </p:nvSpPr>
          <p:spPr bwMode="auto">
            <a:xfrm flipH="1" flipV="1">
              <a:off x="3626" y="784"/>
              <a:ext cx="337" cy="90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67"/>
            <p:cNvSpPr>
              <a:spLocks noChangeShapeType="1"/>
            </p:cNvSpPr>
            <p:nvPr/>
          </p:nvSpPr>
          <p:spPr bwMode="auto">
            <a:xfrm flipH="1" flipV="1">
              <a:off x="3172" y="784"/>
              <a:ext cx="535" cy="9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68"/>
            <p:cNvSpPr>
              <a:spLocks noChangeShapeType="1"/>
            </p:cNvSpPr>
            <p:nvPr/>
          </p:nvSpPr>
          <p:spPr bwMode="auto">
            <a:xfrm>
              <a:off x="3233" y="784"/>
              <a:ext cx="505" cy="95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69"/>
            <p:cNvSpPr>
              <a:spLocks noChangeShapeType="1"/>
            </p:cNvSpPr>
            <p:nvPr/>
          </p:nvSpPr>
          <p:spPr bwMode="auto">
            <a:xfrm flipH="1" flipV="1">
              <a:off x="3517" y="784"/>
              <a:ext cx="381" cy="9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70"/>
            <p:cNvSpPr>
              <a:spLocks noChangeShapeType="1"/>
            </p:cNvSpPr>
            <p:nvPr/>
          </p:nvSpPr>
          <p:spPr bwMode="auto">
            <a:xfrm>
              <a:off x="3572" y="784"/>
              <a:ext cx="357" cy="9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71"/>
            <p:cNvSpPr>
              <a:spLocks noChangeShapeType="1"/>
            </p:cNvSpPr>
            <p:nvPr/>
          </p:nvSpPr>
          <p:spPr bwMode="auto">
            <a:xfrm flipH="1" flipV="1">
              <a:off x="3407" y="784"/>
              <a:ext cx="427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72"/>
            <p:cNvSpPr>
              <a:spLocks noChangeShapeType="1"/>
            </p:cNvSpPr>
            <p:nvPr/>
          </p:nvSpPr>
          <p:spPr bwMode="auto">
            <a:xfrm flipH="1" flipV="1">
              <a:off x="2634" y="784"/>
              <a:ext cx="817" cy="10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73"/>
            <p:cNvSpPr>
              <a:spLocks noChangeShapeType="1"/>
            </p:cNvSpPr>
            <p:nvPr/>
          </p:nvSpPr>
          <p:spPr bwMode="auto">
            <a:xfrm flipH="1" flipV="1">
              <a:off x="2428" y="905"/>
              <a:ext cx="894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74"/>
            <p:cNvSpPr>
              <a:spLocks noChangeShapeType="1"/>
            </p:cNvSpPr>
            <p:nvPr/>
          </p:nvSpPr>
          <p:spPr bwMode="auto">
            <a:xfrm>
              <a:off x="2706" y="784"/>
              <a:ext cx="776" cy="10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75"/>
            <p:cNvSpPr>
              <a:spLocks noChangeShapeType="1"/>
            </p:cNvSpPr>
            <p:nvPr/>
          </p:nvSpPr>
          <p:spPr bwMode="auto">
            <a:xfrm flipH="1" flipV="1">
              <a:off x="2363" y="842"/>
              <a:ext cx="892" cy="98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76"/>
            <p:cNvSpPr>
              <a:spLocks noChangeShapeType="1"/>
            </p:cNvSpPr>
            <p:nvPr/>
          </p:nvSpPr>
          <p:spPr bwMode="auto">
            <a:xfrm flipH="1" flipV="1">
              <a:off x="2332" y="811"/>
              <a:ext cx="888" cy="10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77"/>
            <p:cNvSpPr>
              <a:spLocks noChangeShapeType="1"/>
            </p:cNvSpPr>
            <p:nvPr/>
          </p:nvSpPr>
          <p:spPr bwMode="auto">
            <a:xfrm>
              <a:off x="2272" y="784"/>
              <a:ext cx="777" cy="9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78"/>
            <p:cNvSpPr>
              <a:spLocks noChangeShapeType="1"/>
            </p:cNvSpPr>
            <p:nvPr/>
          </p:nvSpPr>
          <p:spPr bwMode="auto">
            <a:xfrm flipH="1" flipV="1">
              <a:off x="2478" y="873"/>
              <a:ext cx="877" cy="9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79"/>
            <p:cNvSpPr>
              <a:spLocks noChangeShapeType="1"/>
            </p:cNvSpPr>
            <p:nvPr/>
          </p:nvSpPr>
          <p:spPr bwMode="auto">
            <a:xfrm>
              <a:off x="2290" y="784"/>
              <a:ext cx="828" cy="10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80"/>
            <p:cNvSpPr>
              <a:spLocks noChangeShapeType="1"/>
            </p:cNvSpPr>
            <p:nvPr/>
          </p:nvSpPr>
          <p:spPr bwMode="auto">
            <a:xfrm flipH="1" flipV="1">
              <a:off x="2527" y="842"/>
              <a:ext cx="859" cy="98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81"/>
            <p:cNvSpPr>
              <a:spLocks noChangeShapeType="1"/>
            </p:cNvSpPr>
            <p:nvPr/>
          </p:nvSpPr>
          <p:spPr bwMode="auto">
            <a:xfrm>
              <a:off x="2579" y="811"/>
              <a:ext cx="839" cy="10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82"/>
            <p:cNvSpPr>
              <a:spLocks noChangeShapeType="1"/>
            </p:cNvSpPr>
            <p:nvPr/>
          </p:nvSpPr>
          <p:spPr bwMode="auto">
            <a:xfrm flipH="1" flipV="1">
              <a:off x="2297" y="784"/>
              <a:ext cx="856" cy="10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83"/>
            <p:cNvSpPr>
              <a:spLocks noChangeShapeType="1"/>
            </p:cNvSpPr>
            <p:nvPr/>
          </p:nvSpPr>
          <p:spPr bwMode="auto">
            <a:xfrm flipH="1" flipV="1">
              <a:off x="2394" y="873"/>
              <a:ext cx="895" cy="9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84"/>
            <p:cNvSpPr>
              <a:spLocks noChangeShapeType="1"/>
            </p:cNvSpPr>
            <p:nvPr/>
          </p:nvSpPr>
          <p:spPr bwMode="auto">
            <a:xfrm flipH="1" flipV="1">
              <a:off x="2282" y="784"/>
              <a:ext cx="803" cy="100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85"/>
            <p:cNvSpPr>
              <a:spLocks noChangeShapeType="1"/>
            </p:cNvSpPr>
            <p:nvPr/>
          </p:nvSpPr>
          <p:spPr bwMode="auto">
            <a:xfrm>
              <a:off x="4156" y="784"/>
              <a:ext cx="158" cy="82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4" name="Line 86"/>
            <p:cNvSpPr>
              <a:spLocks noChangeShapeType="1"/>
            </p:cNvSpPr>
            <p:nvPr/>
          </p:nvSpPr>
          <p:spPr bwMode="auto">
            <a:xfrm flipH="1" flipV="1">
              <a:off x="2303" y="784"/>
              <a:ext cx="884" cy="10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5" name="Line 87"/>
            <p:cNvSpPr>
              <a:spLocks noChangeShapeType="1"/>
            </p:cNvSpPr>
            <p:nvPr/>
          </p:nvSpPr>
          <p:spPr bwMode="auto">
            <a:xfrm flipH="1" flipV="1">
              <a:off x="2779" y="784"/>
              <a:ext cx="736" cy="10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401300"/>
            <a:ext cx="7857000" cy="1485000"/>
          </a:xfrm>
        </p:spPr>
        <p:txBody>
          <a:bodyPr vert="horz" lIns="26999" tIns="0" rIns="26999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42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26999" tIns="0" rIns="26999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34" lvl="0" indent="-171434" defTabSz="457142">
              <a:spcBef>
                <a:spcPts val="0"/>
              </a:spcBef>
              <a:buSzPct val="100000"/>
            </a:pPr>
            <a:r>
              <a:rPr lang="fr-FR" smtClean="0"/>
              <a:t>Modifier le style des sous-titres du masque</a:t>
            </a:r>
            <a:endParaRPr lang="en-US" dirty="0"/>
          </a:p>
        </p:txBody>
      </p:sp>
      <p:grpSp>
        <p:nvGrpSpPr>
          <p:cNvPr id="5" name="Group 7"/>
          <p:cNvGrpSpPr/>
          <p:nvPr/>
        </p:nvGrpSpPr>
        <p:grpSpPr>
          <a:xfrm>
            <a:off x="447677" y="4187831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26999" tIns="0" rIns="26999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fld id="{66FF19C1-52FE-42DD-B897-C6E050F86BDB}" type="datetime1">
              <a:rPr lang="en-US">
                <a:solidFill>
                  <a:srgbClr val="430099"/>
                </a:solidFill>
              </a:rPr>
              <a:pPr/>
              <a:t>23-Sep-24</a:t>
            </a:fld>
            <a:endParaRPr lang="en-US" dirty="0">
              <a:solidFill>
                <a:srgbClr val="43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9421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8" y="1052678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8"/>
            <a:ext cx="637938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4"/>
            <a:ext cx="637938" cy="1109795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900"/>
            <a:ext cx="637938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8"/>
            <a:ext cx="637938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4"/>
            <a:ext cx="637938" cy="1109795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900"/>
            <a:ext cx="637938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176191" indent="-215972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8" y="2332124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8" y="3622900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7" y="1052678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7" y="2332124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7" y="3622900"/>
            <a:ext cx="2473325" cy="1102313"/>
          </a:xfrm>
          <a:prstGeom prst="rect">
            <a:avLst/>
          </a:prstGeom>
        </p:spPr>
        <p:txBody>
          <a:bodyPr vert="horz" lIns="26999" tIns="0" rIns="26999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65" indent="-92065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308E559E-E3D8-4B1E-AF80-07AA0623978C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985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 5"/>
          <p:cNvSpPr>
            <a:spLocks noEditPoints="1"/>
          </p:cNvSpPr>
          <p:nvPr userDrawn="1"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1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2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3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100" name="Freeform 5"/>
          <p:cNvSpPr>
            <a:spLocks noEditPoints="1"/>
          </p:cNvSpPr>
          <p:nvPr/>
        </p:nvSpPr>
        <p:spPr bwMode="hidden">
          <a:xfrm>
            <a:off x="237984" y="801693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auto">
          <a:xfrm>
            <a:off x="856922" y="2362890"/>
            <a:ext cx="8288755" cy="2780615"/>
            <a:chOff x="1243" y="1097"/>
            <a:chExt cx="3272" cy="1048"/>
          </a:xfrm>
        </p:grpSpPr>
        <p:sp>
          <p:nvSpPr>
            <p:cNvPr id="18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2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3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4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5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6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7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8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9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0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1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2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3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4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5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6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7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8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9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0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1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2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3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4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5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6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7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1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2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3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4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5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6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4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5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6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42"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26999" tIns="0" rIns="26999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34" lvl="0" indent="-171434" defTabSz="457142">
              <a:spcBef>
                <a:spcPts val="300"/>
              </a:spcBef>
              <a:buSzPct val="100000"/>
            </a:pPr>
            <a:r>
              <a:rPr lang="fr-FR" smtClean="0"/>
              <a:t>Modifier les styles du texte du masqu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6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hidden">
          <a:xfrm>
            <a:off x="238235" y="227983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BE9718FB-A763-4397-9DAF-C40AEADDCD9A}" type="datetime1">
              <a:rPr lang="en-GB" smtClean="0">
                <a:solidFill>
                  <a:srgbClr val="FFFFFF"/>
                </a:solidFill>
              </a:rPr>
              <a:pPr algn="ctr"/>
              <a:t>23/09/2024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smtClean="0">
                <a:solidFill>
                  <a:srgbClr val="FFFFFF"/>
                </a:solidFill>
              </a:rPr>
              <a:t>Confidential / Restricted / Public Presentation or part title</a:t>
            </a:r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794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5"/>
          <p:cNvSpPr>
            <a:spLocks noEditPoints="1"/>
          </p:cNvSpPr>
          <p:nvPr userDrawn="1"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94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95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grpSp>
        <p:nvGrpSpPr>
          <p:cNvPr id="5" name="Group 8"/>
          <p:cNvGrpSpPr>
            <a:grpSpLocks noChangeAspect="1"/>
          </p:cNvGrpSpPr>
          <p:nvPr/>
        </p:nvGrpSpPr>
        <p:grpSpPr bwMode="auto">
          <a:xfrm>
            <a:off x="856922" y="2362890"/>
            <a:ext cx="8288755" cy="2780615"/>
            <a:chOff x="1243" y="1097"/>
            <a:chExt cx="3272" cy="1048"/>
          </a:xfrm>
        </p:grpSpPr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2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3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6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7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8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0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1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3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4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5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6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7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8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9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0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1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2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3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4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5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6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7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1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2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3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4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5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6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42"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26999" tIns="0" rIns="26999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34" lvl="0" indent="-171434" defTabSz="457142">
              <a:spcBef>
                <a:spcPts val="300"/>
              </a:spcBef>
              <a:buSzPct val="100000"/>
            </a:pPr>
            <a:r>
              <a:rPr lang="fr-FR" smtClean="0"/>
              <a:t>Modifier les styles du texte du masqu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6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82B4C64D-8614-4F4F-993A-BF62ECD55F17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90" name="Slide Number Placeholder 8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765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1BAF47A-899A-4A16-B65E-F38AA5B88F9B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890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D61F95F0-550F-4CB1-80B5-B92CACCAE88A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790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re et contenu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7" y="985842"/>
            <a:ext cx="8085535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7" y="2912269"/>
            <a:ext cx="8085535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FEE24FE-C300-4893-B24A-3BA8F9085FEA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117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7" y="985842"/>
            <a:ext cx="8085535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7" y="2912269"/>
            <a:ext cx="8085535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3148B8D1-8524-4029-A8AD-E6CB75F01156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528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re et 2 contenus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5" y="985842"/>
            <a:ext cx="3985022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9" y="985842"/>
            <a:ext cx="3986213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7" y="2912269"/>
            <a:ext cx="8085535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E07BBD6-2F06-4979-8A29-9B0839E8505C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7003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re et 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5" y="985842"/>
            <a:ext cx="3985022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9" y="985842"/>
            <a:ext cx="3986213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5" y="2912269"/>
            <a:ext cx="3985022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9" y="2912269"/>
            <a:ext cx="3986213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B9C3CCD-582A-41B6-96EC-6D58B37932AF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111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2F1FC36-E43F-483C-ACAC-F3677A3314CD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21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5" y="985837"/>
            <a:ext cx="3985022" cy="373975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9" y="985837"/>
            <a:ext cx="3986213" cy="373975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812CB93-A28D-4EEF-B619-B52D9CB00392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0128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5" y="985837"/>
            <a:ext cx="3985022" cy="373975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9" y="985842"/>
            <a:ext cx="3986213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9" y="2912269"/>
            <a:ext cx="3986213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35AE98B-365C-4026-BC57-01D39D021079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7624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re. 2 contenus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5" y="985842"/>
            <a:ext cx="3985022" cy="181213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5" y="2912269"/>
            <a:ext cx="3985022" cy="1813322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9" y="985837"/>
            <a:ext cx="3986213" cy="373975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70CAC16-9BAB-4AD7-A47F-C65135AA781A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6589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8" indent="0">
              <a:buNone/>
              <a:defRPr sz="1200" b="1"/>
            </a:lvl4pPr>
            <a:lvl5pPr marL="1371464" indent="0">
              <a:buNone/>
              <a:defRPr sz="1200" b="1"/>
            </a:lvl5pPr>
            <a:lvl6pPr marL="1714331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66" indent="0">
              <a:buNone/>
              <a:defRPr sz="1500" b="1"/>
            </a:lvl2pPr>
            <a:lvl3pPr marL="685732" indent="0">
              <a:buNone/>
              <a:defRPr sz="1400" b="1"/>
            </a:lvl3pPr>
            <a:lvl4pPr marL="1028598" indent="0">
              <a:buNone/>
              <a:defRPr sz="1200" b="1"/>
            </a:lvl4pPr>
            <a:lvl5pPr marL="1371464" indent="0">
              <a:buNone/>
              <a:defRPr sz="1200" b="1"/>
            </a:lvl5pPr>
            <a:lvl6pPr marL="1714331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3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8916884-1D9A-4D5F-96E1-2E3E8204D374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3015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58848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89987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46893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96665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5" y="1374031"/>
            <a:ext cx="3913259" cy="1428876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9"/>
            <a:ext cx="3913584" cy="1425179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9"/>
            <a:ext cx="3912956" cy="1425179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pPr algn="ctr"/>
            <a:fld id="{08E30103-928F-4469-9BB2-A454458DC7FD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39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48261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48261"/>
            <a:ext cx="3913200" cy="290801"/>
          </a:xfrm>
          <a:prstGeom prst="rect">
            <a:avLst/>
          </a:prstGeom>
          <a:noFill/>
          <a:effectLst/>
        </p:spPr>
        <p:txBody>
          <a:bodyPr vert="horz" wrap="square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3"/>
            <a:ext cx="3912956" cy="158710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3"/>
            <a:ext cx="3913200" cy="158710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12"/>
            <a:ext cx="3913192" cy="1587983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4" y="3137298"/>
            <a:ext cx="3912394" cy="1588294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pPr algn="ctr"/>
            <a:fld id="{15969E67-BF35-4E0F-B82B-9E17DADC30C3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97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728856"/>
            <a:ext cx="2592000" cy="512352"/>
          </a:xfrm>
          <a:prstGeom prst="rect">
            <a:avLst/>
          </a:prstGeom>
          <a:noFill/>
          <a:effectLst/>
        </p:spPr>
        <p:txBody>
          <a:bodyPr vert="horz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728856"/>
            <a:ext cx="2592000" cy="512352"/>
          </a:xfrm>
          <a:prstGeom prst="rect">
            <a:avLst/>
          </a:prstGeom>
          <a:noFill/>
          <a:effectLst/>
        </p:spPr>
        <p:txBody>
          <a:bodyPr vert="horz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728856"/>
            <a:ext cx="2592000" cy="512352"/>
          </a:xfrm>
          <a:prstGeom prst="rect">
            <a:avLst/>
          </a:prstGeom>
          <a:noFill/>
          <a:effectLst/>
        </p:spPr>
        <p:txBody>
          <a:bodyPr vert="horz" lIns="68577" tIns="34289" rIns="68577" bIns="34289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15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9" y="1376212"/>
            <a:ext cx="2589326" cy="334900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12"/>
            <a:ext cx="2592000" cy="334900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12"/>
            <a:ext cx="2592000" cy="3349001"/>
          </a:xfrm>
        </p:spPr>
        <p:txBody>
          <a:bodyPr vert="horz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B26C164B-84C4-47C3-92C5-601C640A18D0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08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 noEditPoints="1"/>
          </p:cNvSpPr>
          <p:nvPr userDrawn="1"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4" y="226219"/>
            <a:ext cx="5950744" cy="4499372"/>
          </a:xfrm>
        </p:spPr>
        <p:txBody>
          <a:bodyPr vert="vert" lIns="26999" tIns="0" rIns="26999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78" lvl="1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78" lvl="2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78" lvl="3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78" lvl="4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8FE1AFF-F31E-4DB0-80A8-EF1DE35CEB73}" type="datetime1">
              <a:rPr lang="en-GB">
                <a:solidFill>
                  <a:srgbClr val="B3BABE"/>
                </a:solidFill>
              </a:rPr>
              <a:pPr algn="ctr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>
                <a:solidFill>
                  <a:srgbClr val="B3BABE"/>
                </a:solidFill>
              </a:rPr>
              <a:pPr algn="ctr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0035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 5"/>
          <p:cNvSpPr>
            <a:spLocks noEditPoints="1"/>
          </p:cNvSpPr>
          <p:nvPr userDrawn="1"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0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grpSp>
        <p:nvGrpSpPr>
          <p:cNvPr id="5" name="Group 8"/>
          <p:cNvGrpSpPr>
            <a:grpSpLocks noChangeAspect="1"/>
          </p:cNvGrpSpPr>
          <p:nvPr/>
        </p:nvGrpSpPr>
        <p:grpSpPr bwMode="auto">
          <a:xfrm>
            <a:off x="856922" y="2362890"/>
            <a:ext cx="8288755" cy="2780615"/>
            <a:chOff x="1243" y="1097"/>
            <a:chExt cx="3272" cy="1048"/>
          </a:xfrm>
        </p:grpSpPr>
        <p:sp>
          <p:nvSpPr>
            <p:cNvPr id="15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2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3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4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5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6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7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8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9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0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1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2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3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4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1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2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3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4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5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6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86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1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06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2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hidden">
          <a:xfrm>
            <a:off x="238235" y="227983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96" name="Freeform 5"/>
          <p:cNvSpPr>
            <a:spLocks noEditPoints="1"/>
          </p:cNvSpPr>
          <p:nvPr/>
        </p:nvSpPr>
        <p:spPr bwMode="hidden">
          <a:xfrm>
            <a:off x="237984" y="801693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A8A73790-012E-4B40-98E3-18ACEC7EB9FE}" type="datetime1">
              <a:rPr lang="en-GB" smtClean="0">
                <a:solidFill>
                  <a:srgbClr val="FFFFFF"/>
                </a:solidFill>
              </a:rPr>
              <a:pPr algn="ctr"/>
              <a:t>23/09/2024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smtClean="0">
                <a:solidFill>
                  <a:srgbClr val="FFFFFF"/>
                </a:solidFill>
              </a:rPr>
              <a:t>Confidential / Restricted / Public Presentation or part title</a:t>
            </a:r>
            <a:endParaRPr lang="en-GB">
              <a:solidFill>
                <a:srgbClr val="FFFFFF"/>
              </a:solidFill>
            </a:endParaRPr>
          </a:p>
        </p:txBody>
      </p:sp>
      <p:sp>
        <p:nvSpPr>
          <p:cNvPr id="94" name="Slide Number Placeholder 9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6426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/>
          <p:cNvGrpSpPr>
            <a:grpSpLocks noChangeAspect="1"/>
          </p:cNvGrpSpPr>
          <p:nvPr/>
        </p:nvGrpSpPr>
        <p:grpSpPr bwMode="auto">
          <a:xfrm rot="10800000">
            <a:off x="-19612" y="-11829"/>
            <a:ext cx="8288755" cy="2780615"/>
            <a:chOff x="1243" y="1097"/>
            <a:chExt cx="3272" cy="1048"/>
          </a:xfrm>
        </p:grpSpPr>
        <p:sp>
          <p:nvSpPr>
            <p:cNvPr id="47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8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49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0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4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5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6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7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8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9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0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1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2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3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4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5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6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7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8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9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0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1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2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3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4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5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6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7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8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9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0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1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2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3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4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5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6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7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8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9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0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1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2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3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4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5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6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7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8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9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0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1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2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3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4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5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6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7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8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9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0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1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2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3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4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169413" y="1151791"/>
            <a:ext cx="825078" cy="242372"/>
          </a:xfrm>
          <a:prstGeom prst="rect">
            <a:avLst/>
          </a:prstGeom>
          <a:noFill/>
        </p:spPr>
        <p:txBody>
          <a:bodyPr wrap="none" lIns="68577" tIns="34289" rIns="68577" bIns="34289" rtlCol="0">
            <a:spAutoFit/>
          </a:bodyPr>
          <a:lstStyle/>
          <a:p>
            <a:pPr algn="ctr" defTabSz="685766"/>
            <a:r>
              <a:rPr lang="en-US" sz="1100" dirty="0" smtClean="0">
                <a:solidFill>
                  <a:srgbClr val="FFFFFF"/>
                </a:solidFill>
              </a:rPr>
              <a:t>CONTACT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4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93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52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5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51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4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" name="Group 25"/>
          <p:cNvGrpSpPr/>
          <p:nvPr/>
        </p:nvGrpSpPr>
        <p:grpSpPr bwMode="black">
          <a:xfrm>
            <a:off x="3547273" y="3258731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27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31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pic>
        <p:nvPicPr>
          <p:cNvPr id="157" name="Picture 15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28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>
              <a:solidFill>
                <a:srgbClr val="422683"/>
              </a:solidFill>
            </a:endParaRPr>
          </a:p>
        </p:txBody>
      </p:sp>
      <p:pic>
        <p:nvPicPr>
          <p:cNvPr id="10" name="Picture 9" descr="public security OK-r7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1940" y="1"/>
            <a:ext cx="4531946" cy="453194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6925" y="1401528"/>
            <a:ext cx="7855798" cy="1497178"/>
          </a:xfrm>
          <a:prstGeom prst="rect">
            <a:avLst/>
          </a:prstGeom>
        </p:spPr>
        <p:txBody>
          <a:bodyPr vert="horz" anchor="b"/>
          <a:lstStyle>
            <a:lvl1pPr marL="0" indent="0">
              <a:lnSpc>
                <a:spcPct val="80000"/>
              </a:lnSpc>
              <a:buNone/>
              <a:defRPr sz="4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Public Security</a:t>
            </a:r>
            <a:endParaRPr lang="fr-FR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6925" y="2898796"/>
            <a:ext cx="7855798" cy="4452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Subtitle</a:t>
            </a:r>
            <a:endParaRPr lang="fr-FR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756902" y="4346699"/>
            <a:ext cx="1745820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r>
              <a:rPr lang="fr-FR" noProof="1" smtClean="0"/>
              <a:t>May 2018</a:t>
            </a:r>
            <a:endParaRPr lang="en-GB" noProof="1"/>
          </a:p>
        </p:txBody>
      </p:sp>
      <p:pic>
        <p:nvPicPr>
          <p:cNvPr id="12" name="Picture 11" descr="Logo Idemia_RVB blan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197" y="4186879"/>
            <a:ext cx="2049462" cy="511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78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/>
          <p:cNvGrpSpPr>
            <a:grpSpLocks noChangeAspect="1"/>
          </p:cNvGrpSpPr>
          <p:nvPr/>
        </p:nvGrpSpPr>
        <p:grpSpPr bwMode="auto">
          <a:xfrm rot="10800000">
            <a:off x="-19612" y="-11829"/>
            <a:ext cx="8288755" cy="2780615"/>
            <a:chOff x="1243" y="1097"/>
            <a:chExt cx="3272" cy="1048"/>
          </a:xfrm>
        </p:grpSpPr>
        <p:sp>
          <p:nvSpPr>
            <p:cNvPr id="56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7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59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0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1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2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3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4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5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6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7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8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69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0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1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2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3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4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5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6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7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8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79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0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1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2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3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4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5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6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7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8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89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0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1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2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3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4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5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6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7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8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99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0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1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2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3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4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5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6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7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8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09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0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1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2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3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4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5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6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7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8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19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0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1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2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3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4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5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6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7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8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29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0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1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2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3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4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169413" y="1151791"/>
            <a:ext cx="825078" cy="242372"/>
          </a:xfrm>
          <a:prstGeom prst="rect">
            <a:avLst/>
          </a:prstGeom>
          <a:noFill/>
        </p:spPr>
        <p:txBody>
          <a:bodyPr wrap="none" lIns="68577" tIns="34289" rIns="68577" bIns="34289" rtlCol="0">
            <a:spAutoFit/>
          </a:bodyPr>
          <a:lstStyle/>
          <a:p>
            <a:pPr algn="ctr" defTabSz="685766"/>
            <a:r>
              <a:rPr lang="en-US" sz="1100" dirty="0" smtClean="0">
                <a:solidFill>
                  <a:srgbClr val="430099"/>
                </a:solidFill>
              </a:rPr>
              <a:t>CONTACT</a:t>
            </a:r>
            <a:endParaRPr lang="en-US" sz="1100" dirty="0">
              <a:solidFill>
                <a:srgbClr val="430099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4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93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52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5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51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4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42" indent="0">
              <a:buNone/>
              <a:defRPr/>
            </a:lvl2pPr>
            <a:lvl3pPr marL="914288" indent="0">
              <a:buNone/>
              <a:defRPr/>
            </a:lvl3pPr>
            <a:lvl4pPr marL="1371430" indent="0">
              <a:buNone/>
              <a:defRPr/>
            </a:lvl4pPr>
            <a:lvl5pPr marL="182857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" name="Group 21"/>
          <p:cNvGrpSpPr/>
          <p:nvPr/>
        </p:nvGrpSpPr>
        <p:grpSpPr>
          <a:xfrm>
            <a:off x="3547273" y="3258731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pic>
        <p:nvPicPr>
          <p:cNvPr id="136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  <p:grpSp>
        <p:nvGrpSpPr>
          <p:cNvPr id="4" name="Group 8"/>
          <p:cNvGrpSpPr>
            <a:grpSpLocks noChangeAspect="1"/>
          </p:cNvGrpSpPr>
          <p:nvPr/>
        </p:nvGrpSpPr>
        <p:grpSpPr bwMode="auto">
          <a:xfrm rot="10800000">
            <a:off x="-19613" y="-11829"/>
            <a:ext cx="8288755" cy="2780615"/>
            <a:chOff x="1243" y="1097"/>
            <a:chExt cx="3272" cy="1048"/>
          </a:xfrm>
        </p:grpSpPr>
        <p:sp>
          <p:nvSpPr>
            <p:cNvPr id="137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8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39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0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1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2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3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4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5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6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7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8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49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0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1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2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3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4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5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6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7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8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59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0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1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2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3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4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5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6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7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8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69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0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1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2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3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4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5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6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7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8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79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0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1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2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3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4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5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6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7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8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89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0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1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2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3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4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5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6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7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8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199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0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1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2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3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4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5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6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7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8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09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0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1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2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3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4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  <p:sp>
          <p:nvSpPr>
            <p:cNvPr id="215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>
                <a:solidFill>
                  <a:srgbClr val="6C6D6B"/>
                </a:solidFill>
              </a:endParaRPr>
            </a:p>
          </p:txBody>
        </p:sp>
      </p:grpSp>
      <p:sp>
        <p:nvSpPr>
          <p:cNvPr id="216" name="TextBox 215"/>
          <p:cNvSpPr txBox="1"/>
          <p:nvPr/>
        </p:nvSpPr>
        <p:spPr>
          <a:xfrm>
            <a:off x="4169413" y="1151791"/>
            <a:ext cx="825078" cy="242372"/>
          </a:xfrm>
          <a:prstGeom prst="rect">
            <a:avLst/>
          </a:prstGeom>
          <a:noFill/>
        </p:spPr>
        <p:txBody>
          <a:bodyPr wrap="none" lIns="68577" tIns="34289" rIns="68577" bIns="34289" rtlCol="0">
            <a:spAutoFit/>
          </a:bodyPr>
          <a:lstStyle/>
          <a:p>
            <a:pPr algn="ctr" defTabSz="685766"/>
            <a:r>
              <a:rPr lang="en-US" sz="1100" dirty="0" smtClean="0">
                <a:solidFill>
                  <a:srgbClr val="B3BABE"/>
                </a:solidFill>
              </a:rPr>
              <a:t>CONTACT</a:t>
            </a:r>
            <a:endParaRPr lang="en-US" sz="1100" dirty="0">
              <a:solidFill>
                <a:srgbClr val="B3BABE"/>
              </a:solidFill>
            </a:endParaRPr>
          </a:p>
        </p:txBody>
      </p:sp>
      <p:pic>
        <p:nvPicPr>
          <p:cNvPr id="217" name="Picture 2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  <p:pic>
        <p:nvPicPr>
          <p:cNvPr id="218" name="Picture 2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5422" y="3258730"/>
            <a:ext cx="2073160" cy="51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4384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12 Title and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6" y="147048"/>
            <a:ext cx="8210510" cy="56147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844" y="1417052"/>
            <a:ext cx="8210510" cy="291431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38CB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7476" y="802100"/>
            <a:ext cx="8210510" cy="313113"/>
          </a:xfrm>
          <a:prstGeom prst="rect">
            <a:avLst/>
          </a:prstGeom>
        </p:spPr>
        <p:txBody>
          <a:bodyPr tIns="0" anchor="b">
            <a:noAutofit/>
          </a:bodyPr>
          <a:lstStyle>
            <a:lvl1pPr marL="0" indent="0">
              <a:buNone/>
              <a:defRPr sz="2200" b="1" i="0">
                <a:solidFill>
                  <a:srgbClr val="038CB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81399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Overlay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8" name="Group 7"/>
          <p:cNvGrpSpPr/>
          <p:nvPr/>
        </p:nvGrpSpPr>
        <p:grpSpPr>
          <a:xfrm>
            <a:off x="1194101" y="2165647"/>
            <a:ext cx="6779110" cy="923330"/>
            <a:chOff x="1172584" y="1381459"/>
            <a:chExt cx="6779110" cy="1231106"/>
          </a:xfrm>
          <a:effectLst>
            <a:outerShdw blurRad="38100" dist="12700" dir="16200000" rotWithShape="0">
              <a:prstClr val="black">
                <a:alpha val="30000"/>
              </a:prstClr>
            </a:outerShdw>
          </a:effectLst>
        </p:grpSpPr>
        <p:sp>
          <p:nvSpPr>
            <p:cNvPr id="9" name="TextBox 8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ln w="3175">
                    <a:solidFill>
                      <a:schemeClr val="tx2">
                        <a:alpha val="60000"/>
                      </a:schemeClr>
                    </a:solidFill>
                  </a:ln>
                  <a:solidFill>
                    <a:schemeClr val="tx2">
                      <a:lumMod val="90000"/>
                    </a:schemeClr>
                  </a:solidFill>
                  <a:effectLst>
                    <a:outerShdw blurRad="34925" dist="12700" dir="14400000" algn="ctr" rotWithShape="0">
                      <a:srgbClr val="000000">
                        <a:alpha val="21000"/>
                      </a:srgbClr>
                    </a:outerShdw>
                  </a:effectLst>
                  <a:latin typeface="Wingdings" pitchFamily="2" charset="2"/>
                </a:rPr>
                <a:t></a:t>
              </a:r>
              <a:endParaRPr lang="en-US" sz="5400" dirty="0">
                <a:ln w="3175">
                  <a:solidFill>
                    <a:schemeClr val="tx2">
                      <a:alpha val="60000"/>
                    </a:schemeClr>
                  </a:solidFill>
                </a:ln>
                <a:solidFill>
                  <a:schemeClr val="tx2">
                    <a:lumMod val="90000"/>
                  </a:schemeClr>
                </a:solidFill>
                <a:effectLst>
                  <a:outerShdw blurRad="34925" dist="12700" dir="14400000" algn="ctr" rotWithShape="0">
                    <a:srgbClr val="000000">
                      <a:alpha val="21000"/>
                    </a:srgbClr>
                  </a:outerShdw>
                </a:effectLst>
                <a:latin typeface="Wingdings" pitchFamily="2" charset="2"/>
              </a:endParaRPr>
            </a:p>
          </p:txBody>
        </p:sp>
        <p:cxnSp>
          <p:nvCxnSpPr>
            <p:cNvPr id="10" name="Straight Connector 9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9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10800000">
              <a:off x="4831976" y="192293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9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3341" y="1040803"/>
            <a:ext cx="6777318" cy="1298987"/>
          </a:xfrm>
        </p:spPr>
        <p:txBody>
          <a:bodyPr anchor="b"/>
          <a:lstStyle>
            <a:lvl1pPr>
              <a:defRPr>
                <a:ln w="3175">
                  <a:solidFill>
                    <a:schemeClr val="tx1">
                      <a:alpha val="65000"/>
                    </a:schemeClr>
                  </a:solidFill>
                </a:ln>
                <a:solidFill>
                  <a:schemeClr val="tx1"/>
                </a:solidFill>
                <a:effectLst>
                  <a:outerShdw blurRad="25400" dist="12700" dir="14220000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25897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effectLst>
                  <a:outerShdw blurRad="34925" dist="12700" dir="14400000" rotWithShape="0">
                    <a:prstClr val="black">
                      <a:alpha val="21000"/>
                    </a:prst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1172584" y="1044163"/>
            <a:ext cx="6779110" cy="923330"/>
            <a:chOff x="1172584" y="1381459"/>
            <a:chExt cx="6779110" cy="1231106"/>
          </a:xfrm>
        </p:grpSpPr>
        <p:sp>
          <p:nvSpPr>
            <p:cNvPr id="13" name="TextBox 12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10800000">
              <a:off x="4831976" y="192265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Overlay.png"/>
          <p:cNvPicPr>
            <a:picLocks noChangeAspect="1"/>
          </p:cNvPicPr>
          <p:nvPr/>
        </p:nvPicPr>
        <p:blipFill>
          <a:blip r:embed="rId2" cstate="print">
            <a:lum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oup 7"/>
          <p:cNvGrpSpPr/>
          <p:nvPr/>
        </p:nvGrpSpPr>
        <p:grpSpPr>
          <a:xfrm>
            <a:off x="1172584" y="2165684"/>
            <a:ext cx="6779110" cy="923330"/>
            <a:chOff x="1172584" y="1381459"/>
            <a:chExt cx="6779110" cy="1231106"/>
          </a:xfrm>
        </p:grpSpPr>
        <p:sp>
          <p:nvSpPr>
            <p:cNvPr id="9" name="TextBox 8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0" name="Straight Connector 9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10800000">
              <a:off x="4831976" y="1927412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41" y="903643"/>
            <a:ext cx="7754713" cy="1433037"/>
          </a:xfrm>
        </p:spPr>
        <p:txBody>
          <a:bodyPr anchor="b"/>
          <a:lstStyle>
            <a:lvl1pPr algn="ctr">
              <a:defRPr sz="54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249" y="2825488"/>
            <a:ext cx="7734747" cy="1125140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1172584" y="1044163"/>
            <a:ext cx="6779110" cy="923330"/>
            <a:chOff x="1172584" y="1381459"/>
            <a:chExt cx="6779110" cy="1231106"/>
          </a:xfrm>
        </p:grpSpPr>
        <p:sp>
          <p:nvSpPr>
            <p:cNvPr id="14" name="TextBox 13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rot="10800000">
              <a:off x="4831976" y="192265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85800" y="1680210"/>
            <a:ext cx="3803904" cy="29077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45151" y="1680210"/>
            <a:ext cx="3803904" cy="29077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1560" y="1680210"/>
            <a:ext cx="3442446" cy="493776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8488" y="2210696"/>
            <a:ext cx="3803904" cy="237972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02306" y="1680210"/>
            <a:ext cx="3447288" cy="493776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208276"/>
            <a:ext cx="3799728" cy="237972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4" name="Group 13"/>
          <p:cNvGrpSpPr/>
          <p:nvPr/>
        </p:nvGrpSpPr>
        <p:grpSpPr>
          <a:xfrm>
            <a:off x="1172584" y="1044163"/>
            <a:ext cx="6779110" cy="923330"/>
            <a:chOff x="1172584" y="1381459"/>
            <a:chExt cx="6779110" cy="1231106"/>
          </a:xfrm>
        </p:grpSpPr>
        <p:sp>
          <p:nvSpPr>
            <p:cNvPr id="16" name="TextBox 15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rot="10800000">
              <a:off x="4831976" y="192265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0" name="Group 9"/>
          <p:cNvGrpSpPr/>
          <p:nvPr/>
        </p:nvGrpSpPr>
        <p:grpSpPr>
          <a:xfrm>
            <a:off x="1172584" y="1044163"/>
            <a:ext cx="6779110" cy="923330"/>
            <a:chOff x="1172584" y="1381459"/>
            <a:chExt cx="6779110" cy="1231106"/>
          </a:xfrm>
        </p:grpSpPr>
        <p:sp>
          <p:nvSpPr>
            <p:cNvPr id="14" name="TextBox 13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rot="10800000">
              <a:off x="4831976" y="192265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4580" y="1258647"/>
            <a:ext cx="3422483" cy="1415191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2002" y="419549"/>
            <a:ext cx="4116667" cy="4175074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4580" y="2702859"/>
            <a:ext cx="3411725" cy="1887967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5DA4A-D24E-9542-A0E8-3A375EC50F26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8" name="Picture 7" descr="Logo Idemia_RVB gris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bandeau pied de page O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6" y="797845"/>
            <a:ext cx="463265" cy="37914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7" name="Picture 36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cxnSp>
        <p:nvCxnSpPr>
          <p:cNvPr id="38" name="Straight Connector 37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/>
          <a:p>
            <a:r>
              <a:rPr lang="fr-FR" dirty="0" err="1" smtClean="0"/>
              <a:t>Summary</a:t>
            </a:r>
            <a:endParaRPr lang="fr-FR" dirty="0"/>
          </a:p>
        </p:txBody>
      </p:sp>
      <p:sp>
        <p:nvSpPr>
          <p:cNvPr id="74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sp>
        <p:nvSpPr>
          <p:cNvPr id="75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1</a:t>
            </a:r>
          </a:p>
        </p:txBody>
      </p:sp>
      <p:sp>
        <p:nvSpPr>
          <p:cNvPr id="76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2</a:t>
            </a:r>
          </a:p>
        </p:txBody>
      </p:sp>
      <p:sp>
        <p:nvSpPr>
          <p:cNvPr id="77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3</a:t>
            </a:r>
          </a:p>
        </p:txBody>
      </p:sp>
      <p:sp>
        <p:nvSpPr>
          <p:cNvPr id="78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4</a:t>
            </a:r>
          </a:p>
        </p:txBody>
      </p:sp>
      <p:sp>
        <p:nvSpPr>
          <p:cNvPr id="79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5</a:t>
            </a:r>
          </a:p>
        </p:txBody>
      </p:sp>
      <p:sp>
        <p:nvSpPr>
          <p:cNvPr id="80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/>
          <a:lstStyle>
            <a:lvl1pPr marL="176209" indent="-215995">
              <a:spcBef>
                <a:spcPts val="24"/>
              </a:spcBef>
              <a:buFont typeface="Arial"/>
              <a:buChar char="→"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06</a:t>
            </a:r>
          </a:p>
        </p:txBody>
      </p:sp>
      <p:sp>
        <p:nvSpPr>
          <p:cNvPr id="81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sp>
        <p:nvSpPr>
          <p:cNvPr id="82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sp>
        <p:nvSpPr>
          <p:cNvPr id="83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sp>
        <p:nvSpPr>
          <p:cNvPr id="84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sp>
        <p:nvSpPr>
          <p:cNvPr id="85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endParaRPr lang="fr-FR" dirty="0" smtClean="0"/>
          </a:p>
          <a:p>
            <a:pPr lvl="1"/>
            <a:r>
              <a:rPr lang="fr-FR" dirty="0" err="1" smtClean="0"/>
              <a:t>Subtitle</a:t>
            </a:r>
            <a:endParaRPr lang="fr-FR" dirty="0" smtClean="0"/>
          </a:p>
        </p:txBody>
      </p:sp>
      <p:pic>
        <p:nvPicPr>
          <p:cNvPr id="27" name="Picture 26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2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40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5747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732" y="3501614"/>
            <a:ext cx="7767021" cy="483547"/>
          </a:xfrm>
        </p:spPr>
        <p:txBody>
          <a:bodyPr anchor="b"/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240000">
            <a:off x="2183792" y="500224"/>
            <a:ext cx="4772156" cy="2698512"/>
          </a:xfr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24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489" y="3993229"/>
            <a:ext cx="7756264" cy="603647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2F7783-0E8E-954E-B855-D7D47DCD51F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8" name="Picture 7" descr="Logo Idemia_RVB gris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bandeau pied de page O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6" y="797845"/>
            <a:ext cx="463265" cy="37914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1" name="Group 10"/>
          <p:cNvGrpSpPr/>
          <p:nvPr/>
        </p:nvGrpSpPr>
        <p:grpSpPr>
          <a:xfrm>
            <a:off x="1172584" y="1044163"/>
            <a:ext cx="6779110" cy="923330"/>
            <a:chOff x="1172584" y="1381459"/>
            <a:chExt cx="6779110" cy="1231106"/>
          </a:xfrm>
        </p:grpSpPr>
        <p:sp>
          <p:nvSpPr>
            <p:cNvPr id="15" name="TextBox 14"/>
            <p:cNvSpPr txBox="1"/>
            <p:nvPr/>
          </p:nvSpPr>
          <p:spPr>
            <a:xfrm>
              <a:off x="4147073" y="1381459"/>
              <a:ext cx="877163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 rot="10800000">
              <a:off x="1172584" y="192562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10800000">
              <a:off x="4831976" y="1922650"/>
              <a:ext cx="3119718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6561" y="419549"/>
            <a:ext cx="1678193" cy="417507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8489" y="637391"/>
            <a:ext cx="5507917" cy="376786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1" name="Group 10"/>
          <p:cNvGrpSpPr/>
          <p:nvPr/>
        </p:nvGrpSpPr>
        <p:grpSpPr>
          <a:xfrm rot="5400000">
            <a:off x="4594069" y="2045201"/>
            <a:ext cx="4110116" cy="923330"/>
            <a:chOff x="1815339" y="1381459"/>
            <a:chExt cx="5480154" cy="923330"/>
          </a:xfrm>
        </p:grpSpPr>
        <p:sp>
          <p:nvSpPr>
            <p:cNvPr id="12" name="TextBox 11"/>
            <p:cNvSpPr txBox="1"/>
            <p:nvPr/>
          </p:nvSpPr>
          <p:spPr>
            <a:xfrm>
              <a:off x="4000879" y="1381459"/>
              <a:ext cx="116955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4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Wingdings" pitchFamily="2" charset="2"/>
                </a:rPr>
                <a:t></a:t>
              </a:r>
              <a:endPara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Wingdings" pitchFamily="2" charset="2"/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>
            <a:xfrm flipH="1" flipV="1">
              <a:off x="1815339" y="1924709"/>
              <a:ext cx="2468880" cy="2505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rot="10800000">
              <a:off x="4826613" y="1927417"/>
              <a:ext cx="2468880" cy="1588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ADD5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>
              <a:solidFill>
                <a:srgbClr val="422683"/>
              </a:solidFill>
            </a:endParaRPr>
          </a:p>
        </p:txBody>
      </p:sp>
      <p:pic>
        <p:nvPicPr>
          <p:cNvPr id="18" name="Picture 17" descr="public-r7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632" y="141657"/>
            <a:ext cx="4543218" cy="4860186"/>
          </a:xfrm>
          <a:prstGeom prst="rect">
            <a:avLst/>
          </a:prstGeom>
        </p:spPr>
      </p:pic>
      <p:sp>
        <p:nvSpPr>
          <p:cNvPr id="4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buNone/>
              <a:defRPr sz="88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pic>
        <p:nvPicPr>
          <p:cNvPr id="19" name="Picture 18" descr="Logo Idemia_RVB blanc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1" y="227980"/>
            <a:ext cx="469019" cy="390254"/>
          </a:xfrm>
          <a:prstGeom prst="rect">
            <a:avLst/>
          </a:prstGeom>
        </p:spPr>
      </p:pic>
      <p:sp>
        <p:nvSpPr>
          <p:cNvPr id="3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19177" y="872649"/>
            <a:ext cx="5919246" cy="167189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8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r>
              <a:rPr lang="fr-FR" dirty="0" smtClean="0"/>
              <a:t> of section on </a:t>
            </a:r>
            <a:r>
              <a:rPr lang="fr-FR" dirty="0" err="1" smtClean="0"/>
              <a:t>two</a:t>
            </a:r>
            <a:r>
              <a:rPr lang="fr-FR" dirty="0" smtClean="0"/>
              <a:t> </a:t>
            </a:r>
            <a:r>
              <a:rPr lang="fr-FR" dirty="0" err="1" smtClean="0"/>
              <a:t>lines</a:t>
            </a:r>
            <a:endParaRPr lang="fr-FR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19066" y="2705282"/>
            <a:ext cx="2270756" cy="120117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lang="da-DK" sz="1600" b="0" i="0" u="none" strike="noStrike" baseline="0" smtClean="0">
                <a:solidFill>
                  <a:schemeClr val="bg1"/>
                </a:solidFill>
                <a:latin typeface="Arial"/>
                <a:cs typeface="Arial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fr-FR" noProof="1" smtClean="0"/>
              <a:t>Content.</a:t>
            </a:r>
          </a:p>
        </p:txBody>
      </p:sp>
      <p:pic>
        <p:nvPicPr>
          <p:cNvPr id="17" name="Picture 16" descr="bandeau pied de page OK.png"/>
          <p:cNvPicPr>
            <a:picLocks noChangeAspect="1"/>
          </p:cNvPicPr>
          <p:nvPr userDrawn="1"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20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rgbClr val="FFFFFF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ay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281579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public vert-r7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950" y="141657"/>
            <a:ext cx="4543218" cy="4860186"/>
          </a:xfrm>
          <a:prstGeom prst="rect">
            <a:avLst/>
          </a:prstGeom>
        </p:spPr>
      </p:pic>
      <p:sp>
        <p:nvSpPr>
          <p:cNvPr id="4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buNone/>
              <a:defRPr sz="88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smtClean="0"/>
              <a:t>1</a:t>
            </a:r>
            <a:endParaRPr lang="fr-FR" dirty="0"/>
          </a:p>
        </p:txBody>
      </p:sp>
      <p:sp>
        <p:nvSpPr>
          <p:cNvPr id="3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8" name="Picture 37" descr="Logo Idemia_RVB gris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19177" y="872649"/>
            <a:ext cx="5919246" cy="167189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800" b="1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 dirty="0" err="1" smtClean="0"/>
              <a:t>Title</a:t>
            </a:r>
            <a:r>
              <a:rPr lang="fr-FR" dirty="0" smtClean="0"/>
              <a:t> of section on </a:t>
            </a:r>
            <a:r>
              <a:rPr lang="fr-FR" dirty="0" err="1" smtClean="0"/>
              <a:t>two</a:t>
            </a:r>
            <a:r>
              <a:rPr lang="fr-FR" dirty="0" smtClean="0"/>
              <a:t> </a:t>
            </a:r>
            <a:r>
              <a:rPr lang="fr-FR" dirty="0" err="1" smtClean="0"/>
              <a:t>lines</a:t>
            </a:r>
            <a:endParaRPr lang="fr-FR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19066" y="2705282"/>
            <a:ext cx="2270756" cy="120117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lang="da-DK" sz="1600" b="0" i="0" u="none" strike="noStrike" baseline="0" smtClean="0">
                <a:solidFill>
                  <a:schemeClr val="bg1"/>
                </a:solidFill>
                <a:latin typeface="Arial"/>
                <a:cs typeface="Arial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fr-FR" noProof="1" smtClean="0"/>
              <a:t>Content.</a:t>
            </a:r>
          </a:p>
        </p:txBody>
      </p:sp>
      <p:pic>
        <p:nvPicPr>
          <p:cNvPr id="16" name="Picture 15" descr="bandeau pied de page OK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7779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0" name="Picture 29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cxnSp>
        <p:nvCxnSpPr>
          <p:cNvPr id="31" name="Straight Connector 30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  <a:ln>
            <a:solidFill>
              <a:srgbClr val="ADD5AF"/>
            </a:solidFill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40" name="Text Placeholder 2"/>
          <p:cNvSpPr>
            <a:spLocks noGrp="1"/>
          </p:cNvSpPr>
          <p:nvPr>
            <p:ph idx="1" hasCustomPrompt="1"/>
          </p:nvPr>
        </p:nvSpPr>
        <p:spPr>
          <a:xfrm>
            <a:off x="842465" y="985143"/>
            <a:ext cx="8063411" cy="374006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pic>
        <p:nvPicPr>
          <p:cNvPr id="21" name="Picture 20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90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 userDrawn="1"/>
        </p:nvCxnSpPr>
        <p:spPr>
          <a:xfrm>
            <a:off x="4572000" y="1088122"/>
            <a:ext cx="0" cy="3637087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244819" y="3512055"/>
            <a:ext cx="2960393" cy="121315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spcAft>
                <a:spcPts val="600"/>
              </a:spcAft>
              <a:buNone/>
              <a:defRPr sz="1300">
                <a:solidFill>
                  <a:srgbClr val="320086"/>
                </a:solidFill>
              </a:defRPr>
            </a:lvl2pPr>
            <a:lvl3pPr marL="176209" indent="-84136">
              <a:buFont typeface="Modern No. 20"/>
              <a:buChar char="&gt;"/>
              <a:defRPr sz="1100">
                <a:solidFill>
                  <a:schemeClr val="bg1">
                    <a:lumMod val="50000"/>
                  </a:schemeClr>
                </a:solidFill>
              </a:defRPr>
            </a:lvl3pPr>
            <a:lvl4pPr marL="269868" indent="-93661">
              <a:buFont typeface="Arial"/>
              <a:buChar char="•"/>
              <a:defRPr sz="1000" baseline="0">
                <a:solidFill>
                  <a:srgbClr val="7F7F7F"/>
                </a:solidFill>
              </a:defRPr>
            </a:lvl4pPr>
            <a:lvl5pPr marL="361941" indent="-92073">
              <a:buFont typeface="Arial"/>
              <a:buChar char="-"/>
              <a:defRPr sz="900">
                <a:solidFill>
                  <a:srgbClr val="7F7F7F"/>
                </a:solidFill>
              </a:defRPr>
            </a:lvl5pPr>
          </a:lstStyle>
          <a:p>
            <a:pPr lvl="0"/>
            <a:r>
              <a:rPr lang="fr-FR" dirty="0" err="1" smtClean="0"/>
              <a:t>Highlighted</a:t>
            </a:r>
            <a:r>
              <a:rPr lang="fr-FR" dirty="0" smtClean="0"/>
              <a:t> content.</a:t>
            </a:r>
            <a:endParaRPr lang="fr-FR" dirty="0"/>
          </a:p>
        </p:txBody>
      </p:sp>
      <p:sp>
        <p:nvSpPr>
          <p:cNvPr id="53" name="Text Placeholder 2"/>
          <p:cNvSpPr>
            <a:spLocks noGrp="1"/>
          </p:cNvSpPr>
          <p:nvPr>
            <p:ph idx="28" hasCustomPrompt="1"/>
          </p:nvPr>
        </p:nvSpPr>
        <p:spPr>
          <a:xfrm>
            <a:off x="4757024" y="986968"/>
            <a:ext cx="4148863" cy="202652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fr-FR" sz="16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400" kern="1200" noProof="1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100" kern="1200" noProof="1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baseline="0" noProof="1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900" kern="1200" noProof="1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3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>
                <a:solidFill>
                  <a:srgbClr val="B3B9BD"/>
                </a:solidFill>
              </a:rPr>
              <a:pPr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pic>
        <p:nvPicPr>
          <p:cNvPr id="35" name="Picture 34" descr="Logo Idemia_RVB gris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720" y="229060"/>
            <a:ext cx="465234" cy="389174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842465" y="227980"/>
            <a:ext cx="8063422" cy="4313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38" name="Text Placeholder 2"/>
          <p:cNvSpPr>
            <a:spLocks noGrp="1"/>
          </p:cNvSpPr>
          <p:nvPr>
            <p:ph idx="1" hasCustomPrompt="1"/>
          </p:nvPr>
        </p:nvSpPr>
        <p:spPr>
          <a:xfrm>
            <a:off x="842465" y="985143"/>
            <a:ext cx="3555977" cy="374006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936176" y="807513"/>
            <a:ext cx="7969710" cy="0"/>
          </a:xfrm>
          <a:prstGeom prst="line">
            <a:avLst/>
          </a:prstGeom>
          <a:ln w="381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bandeau pied de page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7" y="797846"/>
            <a:ext cx="463265" cy="3791459"/>
          </a:xfrm>
          <a:prstGeom prst="rect">
            <a:avLst/>
          </a:prstGeom>
        </p:spPr>
      </p:pic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8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559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5" y="227980"/>
            <a:ext cx="8063410" cy="4313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5" y="985142"/>
            <a:ext cx="8063410" cy="3740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35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77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200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8" indent="-93663" algn="l" defTabSz="457200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25" indent="-84138" algn="l" defTabSz="457200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5" y="227980"/>
            <a:ext cx="8063410" cy="4313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5" y="985142"/>
            <a:ext cx="8063410" cy="3740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F95307B9-B7E6-AC4B-B993-10D7B10DF2C4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86728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200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8" indent="-93663" algn="l" defTabSz="457200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25" indent="-84138" algn="l" defTabSz="457200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5" y="227980"/>
            <a:ext cx="8063410" cy="4313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5" y="985142"/>
            <a:ext cx="8063410" cy="3740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CF18D4DE-FC21-AE46-835A-73853D5B39A3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585711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200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8" indent="-93663" algn="l" defTabSz="457200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25" indent="-84138" algn="l" defTabSz="457200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5" y="227980"/>
            <a:ext cx="8063410" cy="4313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5" y="985142"/>
            <a:ext cx="8063410" cy="3740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5E26A997-B1C2-7941-9708-5AEA69402326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9693514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200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8" indent="-93663" algn="l" defTabSz="457200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25" indent="-84138" algn="l" defTabSz="457200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29" y="4725208"/>
            <a:ext cx="45345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5" y="227980"/>
            <a:ext cx="8063410" cy="4313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5" y="985142"/>
            <a:ext cx="8063410" cy="37400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8"/>
            <a:ext cx="143286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nfidential / Restricted / Public</a:t>
            </a:r>
          </a:p>
          <a:p>
            <a:r>
              <a:rPr lang="en-US" dirty="0" smtClean="0"/>
              <a:t>Presentation or part title</a:t>
            </a:r>
            <a:endParaRPr lang="fr-FR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7"/>
            <a:ext cx="90617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8DD5DD50-09BC-E34F-95AD-404AD47EE6BC}" type="datetime1">
              <a:rPr lang="fr-FR" smtClean="0"/>
              <a:pPr/>
              <a:t>23/09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66231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200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8" indent="-93663" algn="l" defTabSz="457200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25" indent="-84138" algn="l" defTabSz="457200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40730" y="4725209"/>
            <a:ext cx="45345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 defTabSz="685800"/>
            <a:fld id="{01F5D2D7-BF93-6348-8488-F08B04519FA8}" type="slidenum">
              <a:rPr lang="fr-FR" smtClean="0">
                <a:solidFill>
                  <a:srgbClr val="B3B9BD"/>
                </a:solidFill>
              </a:rPr>
              <a:pPr defTabSz="685800"/>
              <a:t>‹#›</a:t>
            </a:fld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842466" y="227980"/>
            <a:ext cx="8063410" cy="431322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/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itle</a:t>
            </a:r>
            <a:endParaRPr lang="fr-FR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842466" y="985143"/>
            <a:ext cx="8063410" cy="374006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text</a:t>
            </a:r>
            <a:endParaRPr lang="fr-FR" dirty="0" smtClean="0"/>
          </a:p>
          <a:p>
            <a:pPr lvl="1"/>
            <a:r>
              <a:rPr lang="fr-FR" dirty="0" err="1" smtClean="0"/>
              <a:t>Text</a:t>
            </a:r>
            <a:r>
              <a:rPr lang="fr-FR" dirty="0" smtClean="0"/>
              <a:t> 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Text</a:t>
            </a:r>
            <a:r>
              <a:rPr lang="fr-FR" dirty="0" smtClean="0"/>
              <a:t> </a:t>
            </a:r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 rot="16200000">
            <a:off x="-251665" y="1353029"/>
            <a:ext cx="1432862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pPr defTabSz="685800"/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1676" y="3988488"/>
            <a:ext cx="906178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pPr defTabSz="685800"/>
            <a:r>
              <a:rPr lang="fr-FR" smtClean="0">
                <a:solidFill>
                  <a:srgbClr val="B3B9BD"/>
                </a:solidFill>
              </a:rPr>
              <a:t>May 2018</a:t>
            </a:r>
            <a:endParaRPr lang="fr-FR" dirty="0">
              <a:solidFill>
                <a:srgbClr val="B3B9BD"/>
              </a:solidFill>
            </a:endParaRPr>
          </a:p>
        </p:txBody>
      </p:sp>
      <p:sp>
        <p:nvSpPr>
          <p:cNvPr id="2" name="fc"/>
          <p:cNvSpPr txBox="1"/>
          <p:nvPr userDrawn="1"/>
        </p:nvSpPr>
        <p:spPr>
          <a:xfrm>
            <a:off x="0" y="4950460"/>
            <a:ext cx="9144000" cy="200007"/>
          </a:xfrm>
          <a:prstGeom prst="rect">
            <a:avLst/>
          </a:prstGeom>
          <a:noFill/>
        </p:spPr>
        <p:txBody>
          <a:bodyPr vert="horz" lIns="68580" tIns="34290" rIns="68580" bIns="34290" rtlCol="0">
            <a:spAutoFit/>
          </a:bodyPr>
          <a:lstStyle/>
          <a:p>
            <a:pPr algn="ctr" defTabSz="685800"/>
            <a:endParaRPr lang="en-US" sz="800">
              <a:solidFill>
                <a:srgbClr val="FF0000"/>
              </a:solidFill>
              <a:latin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4251440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457189" rtl="0" eaLnBrk="1" latinLnBrk="0" hangingPunct="1">
        <a:spcBef>
          <a:spcPct val="0"/>
        </a:spcBef>
        <a:buNone/>
        <a:defRPr sz="1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457189" rtl="0" eaLnBrk="1" latinLnBrk="0" hangingPunct="1">
        <a:spcBef>
          <a:spcPct val="20000"/>
        </a:spcBef>
        <a:spcAft>
          <a:spcPts val="600"/>
        </a:spcAft>
        <a:buFont typeface="Arial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457189" rtl="0" eaLnBrk="1" latinLnBrk="0" hangingPunct="1">
        <a:spcBef>
          <a:spcPct val="20000"/>
        </a:spcBef>
        <a:buFont typeface="Arial"/>
        <a:buNone/>
        <a:defRPr sz="11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179384" indent="-93661" algn="l" defTabSz="457189" rtl="0" eaLnBrk="1" latinLnBrk="0" hangingPunct="1">
        <a:spcBef>
          <a:spcPct val="20000"/>
        </a:spcBef>
        <a:buFont typeface="Modern No. 20"/>
        <a:buChar char="&gt;"/>
        <a:defRPr sz="1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63519" indent="-84136" algn="l" defTabSz="457189" rtl="0" eaLnBrk="1" latinLnBrk="0" hangingPunct="1">
        <a:spcBef>
          <a:spcPct val="20000"/>
        </a:spcBef>
        <a:buFont typeface="Arial"/>
        <a:buChar char="-"/>
        <a:defRPr sz="9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gray">
          <a:xfrm>
            <a:off x="237984" y="801693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26999" tIns="0" rIns="26999" bIns="0" rtlCol="0" anchor="ctr">
            <a:normAutofit/>
          </a:bodyPr>
          <a:lstStyle/>
          <a:p>
            <a:pPr lvl="0" defTabSz="457142"/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26999" tIns="0" rIns="26999" bIns="0" rtlCol="0">
            <a:normAutofit/>
          </a:bodyPr>
          <a:lstStyle/>
          <a:p>
            <a:pPr marL="179978" lvl="0" indent="-179978" defTabSz="457142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40" lvl="1" indent="-179978" defTabSz="457142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10" lvl="2" indent="-215972" defTabSz="457142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875" lvl="3" indent="-143984" defTabSz="457142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849" lvl="4" indent="-107985" defTabSz="457142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238227" y="227983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defTabSz="457142">
                <a:lnSpc>
                  <a:spcPct val="80000"/>
                </a:lnSpc>
                <a:buSzPct val="100000"/>
                <a:buFont typeface="PingFangSC-Regular" charset="-122"/>
                <a:buNone/>
              </a:pPr>
              <a:endParaRPr lang="en-US" sz="48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defTabSz="457142">
                <a:lnSpc>
                  <a:spcPct val="80000"/>
                </a:lnSpc>
                <a:buSzPct val="100000"/>
                <a:buFont typeface="PingFangSC-Regular" charset="-122"/>
                <a:buNone/>
              </a:pPr>
              <a:endParaRPr lang="en-US" sz="4800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defTabSz="457142">
                <a:lnSpc>
                  <a:spcPct val="80000"/>
                </a:lnSpc>
                <a:buSzPct val="100000"/>
                <a:buFont typeface="PingFangSC-Regular" charset="-122"/>
                <a:buNone/>
              </a:pPr>
              <a:endParaRPr lang="en-US" sz="48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defTabSz="457142">
                <a:lnSpc>
                  <a:spcPct val="80000"/>
                </a:lnSpc>
                <a:buSzPct val="100000"/>
                <a:buFont typeface="PingFangSC-Regular" charset="-122"/>
                <a:buNone/>
              </a:pPr>
              <a:endParaRPr lang="en-US" sz="48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3" name="Freeform 5"/>
          <p:cNvSpPr>
            <a:spLocks noEditPoints="1"/>
          </p:cNvSpPr>
          <p:nvPr/>
        </p:nvSpPr>
        <p:spPr bwMode="gray">
          <a:xfrm>
            <a:off x="237983" y="801692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>
              <a:solidFill>
                <a:srgbClr val="6C6D6B"/>
              </a:solidFill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237388" y="227983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dirty="0">
                <a:solidFill>
                  <a:srgbClr val="6C6D6B"/>
                </a:solidFill>
              </a:endParaRPr>
            </a:p>
          </p:txBody>
        </p:sp>
      </p:grp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26999" tIns="0" rIns="26999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 defTabSz="685766"/>
            <a:fld id="{8BD4CE06-E5EE-4DB2-B442-2CFFEA7AE916}" type="datetime1">
              <a:rPr lang="en-GB">
                <a:solidFill>
                  <a:srgbClr val="B3BABE"/>
                </a:solidFill>
              </a:rPr>
              <a:pPr algn="ctr" defTabSz="685766"/>
              <a:t>23/09/2024</a:t>
            </a:fld>
            <a:endParaRPr lang="en-GB">
              <a:solidFill>
                <a:srgbClr val="B3BABE"/>
              </a:solidFill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26999" tIns="0" rIns="26999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 defTabSz="685766"/>
            <a:r>
              <a:rPr smtClean="0">
                <a:solidFill>
                  <a:srgbClr val="B3BABE"/>
                </a:solidFill>
              </a:rPr>
              <a:t>Confidential / Restricted / Public Presentation or part title</a:t>
            </a:r>
            <a:endParaRPr lang="en-GB">
              <a:solidFill>
                <a:srgbClr val="B3BABE"/>
              </a:solidFill>
            </a:endParaRPr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7488"/>
            <a:ext cx="453600" cy="173124"/>
          </a:xfrm>
          <a:prstGeom prst="rect">
            <a:avLst/>
          </a:prstGeom>
        </p:spPr>
        <p:txBody>
          <a:bodyPr vert="horz" lIns="26999" tIns="0" rIns="26999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 defTabSz="685766"/>
            <a:fld id="{22AC7BF3-41A4-4F34-8455-176B8EEB8387}" type="slidenum">
              <a:rPr lang="en-GB">
                <a:solidFill>
                  <a:srgbClr val="B3BABE"/>
                </a:solidFill>
              </a:rPr>
              <a:pPr algn="ctr" defTabSz="685766"/>
              <a:t>‹#›</a:t>
            </a:fld>
            <a:endParaRPr lang="en-GB">
              <a:solidFill>
                <a:srgbClr val="B3BABE"/>
              </a:solidFill>
            </a:endParaRPr>
          </a:p>
        </p:txBody>
      </p:sp>
      <p:cxnSp>
        <p:nvCxnSpPr>
          <p:cNvPr id="31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419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6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685732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34" indent="-171434" algn="l" defTabSz="685732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0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165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030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2896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62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8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4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1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521">
          <p15:clr>
            <a:srgbClr val="F26B43"/>
          </p15:clr>
        </p15:guide>
        <p15:guide id="4" pos="5624">
          <p15:clr>
            <a:srgbClr val="F26B43"/>
          </p15:clr>
        </p15:guide>
        <p15:guide id="5" orient="horz" pos="622">
          <p15:clr>
            <a:srgbClr val="F26B43"/>
          </p15:clr>
        </p15:guide>
        <p15:guide id="6" orient="horz" pos="29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83000">
                <a:schemeClr val="bg1">
                  <a:alpha val="11000"/>
                </a:schemeClr>
              </a:gs>
              <a:gs pos="100000">
                <a:schemeClr val="bg2">
                  <a:lumMod val="75000"/>
                  <a:alpha val="23000"/>
                </a:schemeClr>
              </a:gs>
            </a:gsLst>
            <a:path path="rect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8491" y="427617"/>
            <a:ext cx="7756263" cy="7906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248" y="1686261"/>
            <a:ext cx="7745505" cy="29083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60378" y="462108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823FBE8D-964F-5248-AC5E-D463E13FCD9E}" type="datetime1">
              <a:rPr lang="fr-FR" smtClean="0"/>
              <a:pPr/>
              <a:t>23/09/2024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621082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onfidential / Restricted / Public</a:t>
            </a:r>
          </a:p>
          <a:p>
            <a:r>
              <a:rPr lang="en-US" smtClean="0"/>
              <a:t>Presentation or part 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39264" y="462108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1F5D2D7-BF93-6348-8488-F08B04519FA8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65760" indent="-36576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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777240" indent="-36576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"/>
        <a:defRPr sz="2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36576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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508760" indent="-32004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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828800" indent="-32004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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14884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78892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74320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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741311" y="410304"/>
            <a:ext cx="4118672" cy="684305"/>
          </a:xfrm>
        </p:spPr>
        <p:txBody>
          <a:bodyPr>
            <a:noAutofit/>
          </a:bodyPr>
          <a:lstStyle/>
          <a:p>
            <a:r>
              <a:rPr lang="en-US" sz="2000" b="1" u="sng" dirty="0" smtClean="0"/>
              <a:t>ASK JAMSHEDPUR </a:t>
            </a:r>
            <a:endParaRPr lang="en-US" sz="2000" b="1" u="sng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1121324" y="877805"/>
            <a:ext cx="4190999" cy="10942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 smtClean="0">
                <a:solidFill>
                  <a:schemeClr val="accent1"/>
                </a:solidFill>
              </a:rPr>
              <a:t>Center Lead – Anwar </a:t>
            </a:r>
            <a:r>
              <a:rPr lang="en-US" sz="1600" dirty="0" err="1" smtClean="0">
                <a:solidFill>
                  <a:schemeClr val="accent1"/>
                </a:solidFill>
              </a:rPr>
              <a:t>Shadad</a:t>
            </a:r>
            <a:endParaRPr lang="en-US" sz="1600" dirty="0" smtClean="0">
              <a:solidFill>
                <a:schemeClr val="accent1"/>
              </a:solidFill>
            </a:endParaRPr>
          </a:p>
          <a:p>
            <a:r>
              <a:rPr lang="en-US" sz="1600" dirty="0" smtClean="0">
                <a:solidFill>
                  <a:schemeClr val="accent1"/>
                </a:solidFill>
              </a:rPr>
              <a:t>IT L1 – Krishna </a:t>
            </a:r>
            <a:r>
              <a:rPr lang="en-US" sz="1600" dirty="0" err="1" smtClean="0">
                <a:solidFill>
                  <a:schemeClr val="accent1"/>
                </a:solidFill>
              </a:rPr>
              <a:t>Munda</a:t>
            </a:r>
            <a:endParaRPr lang="en-US" sz="1600" dirty="0" smtClean="0">
              <a:solidFill>
                <a:schemeClr val="accent1"/>
              </a:solidFill>
            </a:endParaRPr>
          </a:p>
          <a:p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88851" y="1084216"/>
            <a:ext cx="481017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Date – </a:t>
            </a:r>
            <a:r>
              <a:rPr lang="en-US" sz="2000" dirty="0" smtClean="0">
                <a:solidFill>
                  <a:schemeClr val="accent1"/>
                </a:solidFill>
              </a:rPr>
              <a:t>23 Sep 2024</a:t>
            </a:r>
            <a:endParaRPr lang="en-US" sz="2000" dirty="0">
              <a:solidFill>
                <a:schemeClr val="accent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693" y="1976396"/>
            <a:ext cx="2125666" cy="282315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95834" y="2325765"/>
            <a:ext cx="2827291" cy="212878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624" y="1985714"/>
            <a:ext cx="2116598" cy="281110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157264" y="4786190"/>
            <a:ext cx="214368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Network Room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99664" y="4788915"/>
            <a:ext cx="214368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Network Rack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30189" y="4796465"/>
            <a:ext cx="214368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Ventilation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860714" y="4780265"/>
            <a:ext cx="214368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Wire Tagging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59" y="1975081"/>
            <a:ext cx="2117038" cy="281169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2837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theme/theme1.xml><?xml version="1.0" encoding="utf-8"?>
<a:theme xmlns:a="http://schemas.openxmlformats.org/drawingml/2006/main" name="NORAM IDENTITY &amp; SECURITY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509DD3D7-82D6-4009-9A98-994CE115323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ITIZEN IDENTITY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0D5C807F-C3DD-4B62-B835-1D5BFDBB5A04}"/>
    </a:ext>
  </a:extLst>
</a:theme>
</file>

<file path=ppt/theme/theme3.xml><?xml version="1.0" encoding="utf-8"?>
<a:theme xmlns:a="http://schemas.openxmlformats.org/drawingml/2006/main" name="CONNECTED OBJECTS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960574A4-0CD4-4725-B6E5-011894758A79}"/>
    </a:ext>
  </a:extLst>
</a:theme>
</file>

<file path=ppt/theme/theme4.xml><?xml version="1.0" encoding="utf-8"?>
<a:theme xmlns:a="http://schemas.openxmlformats.org/drawingml/2006/main" name="FINANCIAL INSTITUTIONS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29B6463F-3AE1-49DA-9F3F-01DC0DFFA4AE}"/>
    </a:ext>
  </a:extLst>
</a:theme>
</file>

<file path=ppt/theme/theme5.xml><?xml version="1.0" encoding="utf-8"?>
<a:theme xmlns:a="http://schemas.openxmlformats.org/drawingml/2006/main" name="MOBILE OPERATORS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CA263994-56C8-464A-B3B2-028EE97A8538}"/>
    </a:ext>
  </a:extLst>
</a:theme>
</file>

<file path=ppt/theme/theme6.xml><?xml version="1.0" encoding="utf-8"?>
<a:theme xmlns:a="http://schemas.openxmlformats.org/drawingml/2006/main" name="PUBLIC SECURITY">
  <a:themeElements>
    <a:clrScheme name="NEWCO">
      <a:dk1>
        <a:srgbClr val="9DA6AA"/>
      </a:dk1>
      <a:lt1>
        <a:srgbClr val="422683"/>
      </a:lt1>
      <a:dk2>
        <a:srgbClr val="B3B9BD"/>
      </a:dk2>
      <a:lt2>
        <a:srgbClr val="C9CFD4"/>
      </a:lt2>
      <a:accent1>
        <a:srgbClr val="F3E034"/>
      </a:accent1>
      <a:accent2>
        <a:srgbClr val="ADD5AF"/>
      </a:accent2>
      <a:accent3>
        <a:srgbClr val="A4CBE6"/>
      </a:accent3>
      <a:accent4>
        <a:srgbClr val="36B7B4"/>
      </a:accent4>
      <a:accent5>
        <a:srgbClr val="F39CA9"/>
      </a:accent5>
      <a:accent6>
        <a:srgbClr val="FBC9A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43009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201709-IDEMIA-PPT-template" id="{54EEAC76-BD36-4861-B3A5-880CAA37F2D9}" vid="{B777A46C-C6B5-4A3A-B8FB-14F932886EB5}"/>
    </a:ext>
  </a:extLst>
</a:theme>
</file>

<file path=ppt/theme/theme7.xml><?xml version="1.0" encoding="utf-8"?>
<a:theme xmlns:a="http://schemas.openxmlformats.org/drawingml/2006/main" name="2_IDEMIA">
  <a:themeElements>
    <a:clrScheme name="IDEMIA">
      <a:dk1>
        <a:srgbClr val="6C6D6B"/>
      </a:dk1>
      <a:lt1>
        <a:srgbClr val="FFFFFF"/>
      </a:lt1>
      <a:dk2>
        <a:srgbClr val="430099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xmlns="" name="IDEMIA_Presentation_Template_20171205.potx" id="{7C08F767-0310-46F5-95FC-58E4DBE0DA76}" vid="{CCB2520D-A217-4E5F-9CED-CCE55E0AB156}"/>
    </a:ext>
  </a:extLst>
</a:theme>
</file>

<file path=ppt/theme/theme8.xml><?xml version="1.0" encoding="utf-8"?>
<a:theme xmlns:a="http://schemas.openxmlformats.org/drawingml/2006/main" name="Hardcover">
  <a:themeElements>
    <a:clrScheme name="Hardcover">
      <a:dk1>
        <a:sysClr val="windowText" lastClr="000000"/>
      </a:dk1>
      <a:lt1>
        <a:sysClr val="window" lastClr="FFFFFF"/>
      </a:lt1>
      <a:dk2>
        <a:srgbClr val="895D1D"/>
      </a:dk2>
      <a:lt2>
        <a:srgbClr val="ECE9C6"/>
      </a:lt2>
      <a:accent1>
        <a:srgbClr val="873624"/>
      </a:accent1>
      <a:accent2>
        <a:srgbClr val="D6862D"/>
      </a:accent2>
      <a:accent3>
        <a:srgbClr val="D0BE40"/>
      </a:accent3>
      <a:accent4>
        <a:srgbClr val="877F6C"/>
      </a:accent4>
      <a:accent5>
        <a:srgbClr val="972109"/>
      </a:accent5>
      <a:accent6>
        <a:srgbClr val="AEB795"/>
      </a:accent6>
      <a:hlink>
        <a:srgbClr val="CC9900"/>
      </a:hlink>
      <a:folHlink>
        <a:srgbClr val="B2B2B2"/>
      </a:folHlink>
    </a:clrScheme>
    <a:fontScheme name="Hardcover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Hardcover">
      <a:fillStyleLst>
        <a:solidFill>
          <a:schemeClr val="phClr"/>
        </a:solidFill>
        <a:solidFill>
          <a:schemeClr val="phClr">
            <a:tint val="68000"/>
            <a:shade val="94000"/>
            <a:satMod val="300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80000"/>
                <a:lumMod val="98000"/>
              </a:schemeClr>
            </a:gs>
            <a:gs pos="100000">
              <a:schemeClr val="phClr">
                <a:satMod val="130000"/>
              </a:schemeClr>
            </a:gs>
          </a:gsLst>
          <a:lin ang="5160000" scaled="0"/>
        </a:gradFill>
      </a:fillStyleLst>
      <a:lnStyleLst>
        <a:ln w="12700" cap="flat" cmpd="sng" algn="ctr">
          <a:solidFill>
            <a:schemeClr val="phClr">
              <a:shade val="90000"/>
              <a:lumMod val="90000"/>
            </a:schemeClr>
          </a:solidFill>
          <a:prstDash val="solid"/>
        </a:ln>
        <a:ln w="19050" cap="flat" cmpd="sng" algn="ctr">
          <a:solidFill>
            <a:schemeClr val="phClr">
              <a:shade val="75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12700" dir="5400000" rotWithShape="0">
              <a:srgbClr val="000000">
                <a:alpha val="1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6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400000"/>
            </a:lightRig>
          </a:scene3d>
          <a:sp3d>
            <a:bevelT w="25400" h="25400"/>
          </a:sp3d>
        </a:effectStyle>
      </a:effectStyleLst>
      <a:bgFillStyleLst>
        <a:solidFill>
          <a:schemeClr val="phClr">
            <a:tint val="96000"/>
            <a:lumMod val="11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3000"/>
                <a:shade val="20000"/>
              </a:schemeClr>
              <a:schemeClr val="phClr">
                <a:tint val="90000"/>
                <a:shade val="85000"/>
                <a:satMod val="115000"/>
              </a:schemeClr>
            </a:duotone>
          </a:blip>
          <a:tile tx="0" ty="0" sx="60000" sy="6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shade val="50000"/>
                <a:satMod val="340000"/>
                <a:lumMod val="40000"/>
              </a:schemeClr>
              <a:schemeClr val="phClr">
                <a:tint val="92000"/>
                <a:shade val="94000"/>
                <a:hueMod val="110000"/>
                <a:satMod val="236000"/>
                <a:lumMod val="12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IDEMIA">
    <a:dk1>
      <a:srgbClr val="6C6D6B"/>
    </a:dk1>
    <a:lt1>
      <a:srgbClr val="FFFFFF"/>
    </a:lt1>
    <a:dk2>
      <a:srgbClr val="430099"/>
    </a:dk2>
    <a:lt2>
      <a:srgbClr val="B3BABE"/>
    </a:lt2>
    <a:accent1>
      <a:srgbClr val="430099"/>
    </a:accent1>
    <a:accent2>
      <a:srgbClr val="B3BABE"/>
    </a:accent2>
    <a:accent3>
      <a:srgbClr val="00A870"/>
    </a:accent3>
    <a:accent4>
      <a:srgbClr val="6476B8"/>
    </a:accent4>
    <a:accent5>
      <a:srgbClr val="EB5D40"/>
    </a:accent5>
    <a:accent6>
      <a:srgbClr val="C63577"/>
    </a:accent6>
    <a:hlink>
      <a:srgbClr val="430099"/>
    </a:hlink>
    <a:folHlink>
      <a:srgbClr val="430099"/>
    </a:folHlink>
  </a:clrScheme>
</a:themeOverride>
</file>

<file path=ppt/theme/themeOverride2.xml><?xml version="1.0" encoding="utf-8"?>
<a:themeOverride xmlns:a="http://schemas.openxmlformats.org/drawingml/2006/main">
  <a:clrScheme name="IDEMIA">
    <a:dk1>
      <a:srgbClr val="6C6D6B"/>
    </a:dk1>
    <a:lt1>
      <a:srgbClr val="FFFFFF"/>
    </a:lt1>
    <a:dk2>
      <a:srgbClr val="430099"/>
    </a:dk2>
    <a:lt2>
      <a:srgbClr val="B3BABE"/>
    </a:lt2>
    <a:accent1>
      <a:srgbClr val="430099"/>
    </a:accent1>
    <a:accent2>
      <a:srgbClr val="B3BABE"/>
    </a:accent2>
    <a:accent3>
      <a:srgbClr val="00A870"/>
    </a:accent3>
    <a:accent4>
      <a:srgbClr val="6476B8"/>
    </a:accent4>
    <a:accent5>
      <a:srgbClr val="EB5D40"/>
    </a:accent5>
    <a:accent6>
      <a:srgbClr val="C63577"/>
    </a:accent6>
    <a:hlink>
      <a:srgbClr val="430099"/>
    </a:hlink>
    <a:folHlink>
      <a:srgbClr val="430099"/>
    </a:folHlink>
  </a:clrScheme>
</a:themeOverride>
</file>

<file path=ppt/theme/themeOverride3.xml><?xml version="1.0" encoding="utf-8"?>
<a:themeOverride xmlns:a="http://schemas.openxmlformats.org/drawingml/2006/main">
  <a:clrScheme name="IDEMIA">
    <a:dk1>
      <a:srgbClr val="6C6D6B"/>
    </a:dk1>
    <a:lt1>
      <a:srgbClr val="FFFFFF"/>
    </a:lt1>
    <a:dk2>
      <a:srgbClr val="430099"/>
    </a:dk2>
    <a:lt2>
      <a:srgbClr val="B3BABE"/>
    </a:lt2>
    <a:accent1>
      <a:srgbClr val="430099"/>
    </a:accent1>
    <a:accent2>
      <a:srgbClr val="B3BABE"/>
    </a:accent2>
    <a:accent3>
      <a:srgbClr val="00A870"/>
    </a:accent3>
    <a:accent4>
      <a:srgbClr val="6476B8"/>
    </a:accent4>
    <a:accent5>
      <a:srgbClr val="EB5D40"/>
    </a:accent5>
    <a:accent6>
      <a:srgbClr val="C63577"/>
    </a:accent6>
    <a:hlink>
      <a:srgbClr val="430099"/>
    </a:hlink>
    <a:folHlink>
      <a:srgbClr val="4300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1afbf68-8ad5-4f37-b613-8c9db657fe4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2B50C1DF88494CA2797032A3D03883" ma:contentTypeVersion="14" ma:contentTypeDescription="Crée un document." ma:contentTypeScope="" ma:versionID="75f5a718e5282395c1ab4f2aebd911af">
  <xsd:schema xmlns:xsd="http://www.w3.org/2001/XMLSchema" xmlns:xs="http://www.w3.org/2001/XMLSchema" xmlns:p="http://schemas.microsoft.com/office/2006/metadata/properties" xmlns:ns3="f1afbf68-8ad5-4f37-b613-8c9db657fe4f" xmlns:ns4="01fd838f-9d11-4db3-a62b-62c9ee1689a7" targetNamespace="http://schemas.microsoft.com/office/2006/metadata/properties" ma:root="true" ma:fieldsID="e79a4856feff46cc3cedd60a480b7cdc" ns3:_="" ns4:_="">
    <xsd:import namespace="f1afbf68-8ad5-4f37-b613-8c9db657fe4f"/>
    <xsd:import namespace="01fd838f-9d11-4db3-a62b-62c9ee1689a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_activity" minOccurs="0"/>
                <xsd:element ref="ns3:MediaLengthInSecond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fbf68-8ad5-4f37-b613-8c9db657fe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d838f-9d11-4db3-a62b-62c9ee1689a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9A53B1-84B6-47D2-B7E1-E645BC7F745D}">
  <ds:schemaRefs>
    <ds:schemaRef ds:uri="01fd838f-9d11-4db3-a62b-62c9ee1689a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1afbf68-8ad5-4f37-b613-8c9db657fe4f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C088EE6-CF11-4CBA-ADF4-C655C0930A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B57941-F9F1-4666-8B82-1CAE9983DC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afbf68-8ad5-4f37-b613-8c9db657fe4f"/>
    <ds:schemaRef ds:uri="01fd838f-9d11-4db3-a62b-62c9ee1689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09-IDEMIA-PPT-template</Template>
  <TotalTime>21870</TotalTime>
  <Words>25</Words>
  <Application>Microsoft Office PowerPoint</Application>
  <PresentationFormat>On-screen Show (16:9)</PresentationFormat>
  <Paragraphs>9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NORAM IDENTITY &amp; SECURITY</vt:lpstr>
      <vt:lpstr>CITIZEN IDENTITY</vt:lpstr>
      <vt:lpstr>CONNECTED OBJECTS</vt:lpstr>
      <vt:lpstr>FINANCIAL INSTITUTIONS</vt:lpstr>
      <vt:lpstr>MOBILE OPERATORS</vt:lpstr>
      <vt:lpstr>PUBLIC SECURITY</vt:lpstr>
      <vt:lpstr>2_IDEMIA</vt:lpstr>
      <vt:lpstr>Hardcover</vt:lpstr>
      <vt:lpstr>think-cell Slide</vt:lpstr>
      <vt:lpstr>ASK JAMSHEDPUR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dministrator</dc:creator>
  <cp:lastModifiedBy>Chinmoy Roy</cp:lastModifiedBy>
  <cp:revision>1044</cp:revision>
  <dcterms:created xsi:type="dcterms:W3CDTF">2017-10-09T11:27:18Z</dcterms:created>
  <dcterms:modified xsi:type="dcterms:W3CDTF">2024-09-23T10:1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31684b1-a5da-4051-9fb4-5631703e02d5_Enabled">
    <vt:lpwstr>True</vt:lpwstr>
  </property>
  <property fmtid="{D5CDD505-2E9C-101B-9397-08002B2CF9AE}" pid="3" name="MSIP_Label_431684b1-a5da-4051-9fb4-5631703e02d5_SiteId">
    <vt:lpwstr>7694d41c-5504-43d9-9e40-cb254ad755ec</vt:lpwstr>
  </property>
  <property fmtid="{D5CDD505-2E9C-101B-9397-08002B2CF9AE}" pid="4" name="MSIP_Label_431684b1-a5da-4051-9fb4-5631703e02d5_Owner">
    <vt:lpwstr>GT909880@mph.morpho.com</vt:lpwstr>
  </property>
  <property fmtid="{D5CDD505-2E9C-101B-9397-08002B2CF9AE}" pid="5" name="MSIP_Label_431684b1-a5da-4051-9fb4-5631703e02d5_SetDate">
    <vt:lpwstr>2020-04-14T15:20:37.1657153Z</vt:lpwstr>
  </property>
  <property fmtid="{D5CDD505-2E9C-101B-9397-08002B2CF9AE}" pid="6" name="MSIP_Label_431684b1-a5da-4051-9fb4-5631703e02d5_Name">
    <vt:lpwstr>Public</vt:lpwstr>
  </property>
  <property fmtid="{D5CDD505-2E9C-101B-9397-08002B2CF9AE}" pid="7" name="MSIP_Label_431684b1-a5da-4051-9fb4-5631703e02d5_Application">
    <vt:lpwstr>Microsoft Azure Information Protection</vt:lpwstr>
  </property>
  <property fmtid="{D5CDD505-2E9C-101B-9397-08002B2CF9AE}" pid="8" name="MSIP_Label_431684b1-a5da-4051-9fb4-5631703e02d5_ActionId">
    <vt:lpwstr>d5c01085-04e0-43f7-a303-fbc830f141a6</vt:lpwstr>
  </property>
  <property fmtid="{D5CDD505-2E9C-101B-9397-08002B2CF9AE}" pid="9" name="MSIP_Label_431684b1-a5da-4051-9fb4-5631703e02d5_Extended_MSFT_Method">
    <vt:lpwstr>Manual</vt:lpwstr>
  </property>
  <property fmtid="{D5CDD505-2E9C-101B-9397-08002B2CF9AE}" pid="10" name="Sensitivity">
    <vt:lpwstr>Public</vt:lpwstr>
  </property>
  <property fmtid="{D5CDD505-2E9C-101B-9397-08002B2CF9AE}" pid="11" name="ContentTypeId">
    <vt:lpwstr>0x010100692B50C1DF88494CA2797032A3D03883</vt:lpwstr>
  </property>
</Properties>
</file>